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Lst>
  <p:notesMasterIdLst>
    <p:notesMasterId r:id="rId21"/>
  </p:notesMasterIdLst>
  <p:handoutMasterIdLst>
    <p:handoutMasterId r:id="rId22"/>
  </p:handoutMasterIdLst>
  <p:sldIdLst>
    <p:sldId id="256" r:id="rId2"/>
    <p:sldId id="324" r:id="rId3"/>
    <p:sldId id="262" r:id="rId4"/>
    <p:sldId id="326" r:id="rId5"/>
    <p:sldId id="327" r:id="rId6"/>
    <p:sldId id="328" r:id="rId7"/>
    <p:sldId id="330" r:id="rId8"/>
    <p:sldId id="331" r:id="rId9"/>
    <p:sldId id="265" r:id="rId10"/>
    <p:sldId id="290" r:id="rId11"/>
    <p:sldId id="270" r:id="rId12"/>
    <p:sldId id="271" r:id="rId13"/>
    <p:sldId id="272" r:id="rId14"/>
    <p:sldId id="263" r:id="rId15"/>
    <p:sldId id="275" r:id="rId16"/>
    <p:sldId id="277" r:id="rId17"/>
    <p:sldId id="278" r:id="rId18"/>
    <p:sldId id="282" r:id="rId19"/>
    <p:sldId id="25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Боряна Димитрова" initials="БД" lastIdx="7" clrIdx="0">
    <p:extLst>
      <p:ext uri="{19B8F6BF-5375-455C-9EA6-DF929625EA0E}">
        <p15:presenceInfo xmlns:p15="http://schemas.microsoft.com/office/powerpoint/2012/main" userId="S-1-5-21-3428677696-3275111702-3889671455-11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A12B"/>
    <a:srgbClr val="B2DE82"/>
    <a:srgbClr val="E8E8D4"/>
    <a:srgbClr val="DAD9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Среден стил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3307" autoAdjust="0"/>
  </p:normalViewPr>
  <p:slideViewPr>
    <p:cSldViewPr snapToGrid="0" showGuides="1">
      <p:cViewPr varScale="1">
        <p:scale>
          <a:sx n="107" d="100"/>
          <a:sy n="107" d="100"/>
        </p:scale>
        <p:origin x="762" y="114"/>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827E-40ED-B35C-C0A137EBF41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827E-40ED-B35C-C0A137EBF41F}"/>
              </c:ext>
            </c:extLst>
          </c:dPt>
          <c:cat>
            <c:strRef>
              <c:f>Sheet1!$A$2:$A$3</c:f>
              <c:strCache>
                <c:ptCount val="2"/>
                <c:pt idx="0">
                  <c:v>Male</c:v>
                </c:pt>
                <c:pt idx="1">
                  <c:v>Female</c:v>
                </c:pt>
              </c:strCache>
            </c:strRef>
          </c:cat>
          <c:val>
            <c:numRef>
              <c:f>Sheet1!$B$2:$B$3</c:f>
              <c:numCache>
                <c:formatCode>0.0</c:formatCode>
                <c:ptCount val="2"/>
                <c:pt idx="0">
                  <c:v>50.5</c:v>
                </c:pt>
                <c:pt idx="1">
                  <c:v>49.5</c:v>
                </c:pt>
              </c:numCache>
            </c:numRef>
          </c:val>
          <c:extLst>
            <c:ext xmlns:c16="http://schemas.microsoft.com/office/drawing/2014/chart" uri="{C3380CC4-5D6E-409C-BE32-E72D297353CC}">
              <c16:uniqueId val="{00000003-827E-40ED-B35C-C0A137EBF41F}"/>
            </c:ext>
          </c:extLst>
        </c:ser>
        <c:ser>
          <c:idx val="1"/>
          <c:order val="1"/>
          <c:tx>
            <c:strRef>
              <c:f>Sheet1!$C$1</c:f>
              <c:strCache>
                <c:ptCount val="1"/>
                <c:pt idx="0">
                  <c:v>Series 2</c:v>
                </c:pt>
              </c:strCache>
            </c:strRef>
          </c:tx>
          <c:spPr>
            <a:solidFill>
              <a:schemeClr val="bg1">
                <a:lumMod val="85000"/>
              </a:schemeClr>
            </a:solidFill>
            <a:ln>
              <a:solidFill>
                <a:schemeClr val="accent1">
                  <a:lumMod val="20000"/>
                  <a:lumOff val="80000"/>
                </a:schemeClr>
              </a:solidFill>
            </a:ln>
            <a:effectLst/>
          </c:spPr>
          <c:invertIfNegative val="0"/>
          <c:cat>
            <c:strRef>
              <c:f>Sheet1!$A$2:$A$3</c:f>
              <c:strCache>
                <c:ptCount val="2"/>
                <c:pt idx="0">
                  <c:v>Male</c:v>
                </c:pt>
                <c:pt idx="1">
                  <c:v>Female</c:v>
                </c:pt>
              </c:strCache>
            </c:strRef>
          </c:cat>
          <c:val>
            <c:numRef>
              <c:f>Sheet1!$C$2:$C$3</c:f>
              <c:numCache>
                <c:formatCode>General</c:formatCode>
                <c:ptCount val="2"/>
                <c:pt idx="0">
                  <c:v>49.5</c:v>
                </c:pt>
                <c:pt idx="1">
                  <c:v>50.5</c:v>
                </c:pt>
              </c:numCache>
            </c:numRef>
          </c:val>
          <c:extLst>
            <c:ext xmlns:c16="http://schemas.microsoft.com/office/drawing/2014/chart" uri="{C3380CC4-5D6E-409C-BE32-E72D297353CC}">
              <c16:uniqueId val="{00000004-827E-40ED-B35C-C0A137EBF41F}"/>
            </c:ext>
          </c:extLst>
        </c:ser>
        <c:dLbls>
          <c:showLegendKey val="0"/>
          <c:showVal val="0"/>
          <c:showCatName val="0"/>
          <c:showSerName val="0"/>
          <c:showPercent val="0"/>
          <c:showBubbleSize val="0"/>
        </c:dLbls>
        <c:gapWidth val="7"/>
        <c:overlap val="100"/>
        <c:axId val="78161408"/>
        <c:axId val="78162944"/>
      </c:barChart>
      <c:catAx>
        <c:axId val="78161408"/>
        <c:scaling>
          <c:orientation val="minMax"/>
        </c:scaling>
        <c:delete val="1"/>
        <c:axPos val="b"/>
        <c:numFmt formatCode="General" sourceLinked="1"/>
        <c:majorTickMark val="none"/>
        <c:minorTickMark val="none"/>
        <c:tickLblPos val="nextTo"/>
        <c:crossAx val="78162944"/>
        <c:crosses val="autoZero"/>
        <c:auto val="1"/>
        <c:lblAlgn val="ctr"/>
        <c:lblOffset val="100"/>
        <c:noMultiLvlLbl val="0"/>
      </c:catAx>
      <c:valAx>
        <c:axId val="7816294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161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bg-BG"/>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bg-BG" b="1" dirty="0"/>
              <a:t>Колко често Ви се случва да посещавате страни от Европейския съюз, независимо дали по работа или на екскурзия/почивка/на гости на близки, роднини?</a:t>
            </a:r>
          </a:p>
        </c:rich>
      </c:tx>
      <c:layout>
        <c:manualLayout>
          <c:xMode val="edge"/>
          <c:yMode val="edge"/>
          <c:x val="0.14060956313710346"/>
          <c:y val="2.6352320145415008E-3"/>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26088391013354528"/>
          <c:y val="0.18208837271499712"/>
          <c:w val="0.7157482264516164"/>
          <c:h val="0.81535779316557788"/>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Никога не съм посещавал страни от ЕС</c:v>
                </c:pt>
                <c:pt idx="1">
                  <c:v>Много рядко, но съм посещавал</c:v>
                </c:pt>
                <c:pt idx="2">
                  <c:v>По-рядко от един път годишно</c:v>
                </c:pt>
                <c:pt idx="3">
                  <c:v>Около един път в годината</c:v>
                </c:pt>
                <c:pt idx="4">
                  <c:v>Няколко пъти в годината</c:v>
                </c:pt>
              </c:strCache>
            </c:strRef>
          </c:cat>
          <c:val>
            <c:numRef>
              <c:f>Лист1!$B$2:$B$6</c:f>
              <c:numCache>
                <c:formatCode>General</c:formatCode>
                <c:ptCount val="5"/>
                <c:pt idx="0">
                  <c:v>23.400000000000002</c:v>
                </c:pt>
                <c:pt idx="1">
                  <c:v>34.300000000000004</c:v>
                </c:pt>
                <c:pt idx="2">
                  <c:v>12.5</c:v>
                </c:pt>
                <c:pt idx="3">
                  <c:v>15.5</c:v>
                </c:pt>
                <c:pt idx="4">
                  <c:v>14.299999999999999</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6</c:f>
              <c:strCache>
                <c:ptCount val="5"/>
                <c:pt idx="0">
                  <c:v>Никога не съм посещавал страни от ЕС</c:v>
                </c:pt>
                <c:pt idx="1">
                  <c:v>Много рядко, но съм посещавал</c:v>
                </c:pt>
                <c:pt idx="2">
                  <c:v>По-рядко от един път годишно</c:v>
                </c:pt>
                <c:pt idx="3">
                  <c:v>Около един път в годината</c:v>
                </c:pt>
                <c:pt idx="4">
                  <c:v>Няколко пъти в годината</c:v>
                </c:pt>
              </c:strCache>
            </c:strRef>
          </c:cat>
          <c:val>
            <c:numRef>
              <c:f>Лист1!$C$2:$C$6</c:f>
              <c:numCache>
                <c:formatCode>General</c:formatCode>
                <c:ptCount val="5"/>
                <c:pt idx="0">
                  <c:v>76.599999999999994</c:v>
                </c:pt>
                <c:pt idx="1">
                  <c:v>65.699999999999989</c:v>
                </c:pt>
                <c:pt idx="2">
                  <c:v>87.5</c:v>
                </c:pt>
                <c:pt idx="3">
                  <c:v>84.5</c:v>
                </c:pt>
                <c:pt idx="4">
                  <c:v>85.7</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Никога не съм посещавал страни от ЕС</c:v>
                </c:pt>
                <c:pt idx="1">
                  <c:v>Много рядко, но съм посещавал</c:v>
                </c:pt>
                <c:pt idx="2">
                  <c:v>По-рядко от един път годишно</c:v>
                </c:pt>
                <c:pt idx="3">
                  <c:v>Около един път в годината</c:v>
                </c:pt>
                <c:pt idx="4">
                  <c:v>Няколко пъти в годината</c:v>
                </c:pt>
              </c:strCache>
            </c:strRef>
          </c:cat>
          <c:val>
            <c:numRef>
              <c:f>Лист1!$D$2:$D$6</c:f>
              <c:numCache>
                <c:formatCode>General</c:formatCode>
                <c:ptCount val="5"/>
                <c:pt idx="0">
                  <c:v>3.1</c:v>
                </c:pt>
                <c:pt idx="1">
                  <c:v>13.4</c:v>
                </c:pt>
                <c:pt idx="2">
                  <c:v>12.3</c:v>
                </c:pt>
                <c:pt idx="3">
                  <c:v>24.9</c:v>
                </c:pt>
                <c:pt idx="4">
                  <c:v>46.400000000000006</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6</c:f>
              <c:strCache>
                <c:ptCount val="5"/>
                <c:pt idx="0">
                  <c:v>Никога не съм посещавал страни от ЕС</c:v>
                </c:pt>
                <c:pt idx="1">
                  <c:v>Много рядко, но съм посещавал</c:v>
                </c:pt>
                <c:pt idx="2">
                  <c:v>По-рядко от един път годишно</c:v>
                </c:pt>
                <c:pt idx="3">
                  <c:v>Около един път в годината</c:v>
                </c:pt>
                <c:pt idx="4">
                  <c:v>Няколко пъти в годината</c:v>
                </c:pt>
              </c:strCache>
            </c:strRef>
          </c:cat>
          <c:val>
            <c:numRef>
              <c:f>Лист1!$E$2:$E$6</c:f>
              <c:numCache>
                <c:formatCode>General</c:formatCode>
                <c:ptCount val="5"/>
                <c:pt idx="0">
                  <c:v>96.9</c:v>
                </c:pt>
                <c:pt idx="1">
                  <c:v>86.6</c:v>
                </c:pt>
                <c:pt idx="2">
                  <c:v>87.7</c:v>
                </c:pt>
                <c:pt idx="3">
                  <c:v>75.099999999999994</c:v>
                </c:pt>
                <c:pt idx="4">
                  <c:v>53.599999999999994</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bg-BG" sz="1440" b="1" i="0" u="none" strike="noStrike" baseline="0" noProof="0" dirty="0">
                <a:effectLst/>
              </a:rPr>
              <a:t>Случвало ли ви се е да използвате евро през последната една година по някой от следните поводи?</a:t>
            </a:r>
            <a:endParaRPr lang="bg-BG" sz="1440" b="1" u="none" noProof="0" dirty="0"/>
          </a:p>
        </c:rich>
      </c:tx>
      <c:layout>
        <c:manualLayout>
          <c:xMode val="edge"/>
          <c:yMode val="edge"/>
          <c:x val="0.24035460543555806"/>
          <c:y val="2.4255307161474934E-2"/>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3163825857437863"/>
          <c:y val="0.19030285929686747"/>
          <c:w val="0.66755200815851223"/>
          <c:h val="0.78160492881103372"/>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Не</c:v>
                </c:pt>
                <c:pt idx="1">
                  <c:v>За обявяване стойността на по-скъпи стоки и услуги (напр. стойността на недвижими имоти и автомобили, цена на услугата за наем на апартамент)</c:v>
                </c:pt>
                <c:pt idx="2">
                  <c:v>Като средство за спестяване (спестовна сметка в Евро, или налична сума)</c:v>
                </c:pt>
                <c:pt idx="3">
                  <c:v>За извършване на плащания (вкл. плащания в брой, банкови преводи, безналични плащания с карта, напр. покупки през интернет и др.)</c:v>
                </c:pt>
              </c:strCache>
            </c:strRef>
          </c:cat>
          <c:val>
            <c:numRef>
              <c:f>Лист1!$B$2:$B$5</c:f>
              <c:numCache>
                <c:formatCode>General</c:formatCode>
                <c:ptCount val="4"/>
                <c:pt idx="0">
                  <c:v>55.5</c:v>
                </c:pt>
                <c:pt idx="1">
                  <c:v>9.4</c:v>
                </c:pt>
                <c:pt idx="2">
                  <c:v>10.3</c:v>
                </c:pt>
                <c:pt idx="3">
                  <c:v>37.200000000000003</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5</c:f>
              <c:strCache>
                <c:ptCount val="4"/>
                <c:pt idx="0">
                  <c:v>Не</c:v>
                </c:pt>
                <c:pt idx="1">
                  <c:v>За обявяване стойността на по-скъпи стоки и услуги (напр. стойността на недвижими имоти и автомобили, цена на услугата за наем на апартамент)</c:v>
                </c:pt>
                <c:pt idx="2">
                  <c:v>Като средство за спестяване (спестовна сметка в Евро, или налична сума)</c:v>
                </c:pt>
                <c:pt idx="3">
                  <c:v>За извършване на плащания (вкл. плащания в брой, банкови преводи, безналични плащания с карта, напр. покупки през интернет и др.)</c:v>
                </c:pt>
              </c:strCache>
            </c:strRef>
          </c:cat>
          <c:val>
            <c:numRef>
              <c:f>Лист1!$C$2:$C$5</c:f>
              <c:numCache>
                <c:formatCode>General</c:formatCode>
                <c:ptCount val="4"/>
                <c:pt idx="0">
                  <c:v>44.5</c:v>
                </c:pt>
                <c:pt idx="1">
                  <c:v>90.6</c:v>
                </c:pt>
                <c:pt idx="2">
                  <c:v>89.7</c:v>
                </c:pt>
                <c:pt idx="3">
                  <c:v>62.8</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Не</c:v>
                </c:pt>
                <c:pt idx="1">
                  <c:v>За обявяване стойността на по-скъпи стоки и услуги (напр. стойността на недвижими имоти и автомобили, цена на услугата за наем на апартамент)</c:v>
                </c:pt>
                <c:pt idx="2">
                  <c:v>Като средство за спестяване (спестовна сметка в Евро, или налична сума)</c:v>
                </c:pt>
                <c:pt idx="3">
                  <c:v>За извършване на плащания (вкл. плащания в брой, банкови преводи, безналични плащания с карта, напр. покупки през интернет и др.)</c:v>
                </c:pt>
              </c:strCache>
            </c:strRef>
          </c:cat>
          <c:val>
            <c:numRef>
              <c:f>Лист1!$D$2:$D$5</c:f>
              <c:numCache>
                <c:formatCode>0.0</c:formatCode>
                <c:ptCount val="4"/>
                <c:pt idx="0" formatCode="General">
                  <c:v>19.2</c:v>
                </c:pt>
                <c:pt idx="1">
                  <c:v>22.6</c:v>
                </c:pt>
                <c:pt idx="2" formatCode="General">
                  <c:v>23.4</c:v>
                </c:pt>
                <c:pt idx="3" formatCode="General">
                  <c:v>74.7</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5</c:f>
              <c:strCache>
                <c:ptCount val="4"/>
                <c:pt idx="0">
                  <c:v>Не</c:v>
                </c:pt>
                <c:pt idx="1">
                  <c:v>За обявяване стойността на по-скъпи стоки и услуги (напр. стойността на недвижими имоти и автомобили, цена на услугата за наем на апартамент)</c:v>
                </c:pt>
                <c:pt idx="2">
                  <c:v>Като средство за спестяване (спестовна сметка в Евро, или налична сума)</c:v>
                </c:pt>
                <c:pt idx="3">
                  <c:v>За извършване на плащания (вкл. плащания в брой, банкови преводи, безналични плащания с карта, напр. покупки през интернет и др.)</c:v>
                </c:pt>
              </c:strCache>
            </c:strRef>
          </c:cat>
          <c:val>
            <c:numRef>
              <c:f>Лист1!$E$2:$E$5</c:f>
              <c:numCache>
                <c:formatCode>General</c:formatCode>
                <c:ptCount val="4"/>
                <c:pt idx="0">
                  <c:v>80.8</c:v>
                </c:pt>
                <c:pt idx="1">
                  <c:v>77.400000000000006</c:v>
                </c:pt>
                <c:pt idx="2">
                  <c:v>76.599999999999994</c:v>
                </c:pt>
                <c:pt idx="3">
                  <c:v>25.299999999999997</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bg-BG" sz="1440" b="1" noProof="0" dirty="0"/>
              <a:t>Как смятате, за вас лично, лесно или трудно ще бъде да свикнете с използването на еврото?</a:t>
            </a:r>
          </a:p>
        </c:rich>
      </c:tx>
      <c:layout>
        <c:manualLayout>
          <c:xMode val="edge"/>
          <c:yMode val="edge"/>
          <c:x val="0.19705462598425197"/>
          <c:y val="3.9843747548982067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bg-BG"/>
        </a:p>
      </c:txPr>
    </c:title>
    <c:autoTitleDeleted val="0"/>
    <c:plotArea>
      <c:layout/>
      <c:barChart>
        <c:barDir val="bar"/>
        <c:grouping val="percentStacked"/>
        <c:varyColors val="0"/>
        <c:ser>
          <c:idx val="0"/>
          <c:order val="0"/>
          <c:tx>
            <c:strRef>
              <c:f>Лист1!$B$1</c:f>
              <c:strCache>
                <c:ptCount val="1"/>
                <c:pt idx="0">
                  <c:v>Много лесно</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B$2:$B$3</c:f>
              <c:numCache>
                <c:formatCode>General</c:formatCode>
                <c:ptCount val="2"/>
                <c:pt idx="0">
                  <c:v>57.499999999999993</c:v>
                </c:pt>
                <c:pt idx="1">
                  <c:v>20.599999999999998</c:v>
                </c:pt>
              </c:numCache>
            </c:numRef>
          </c:val>
          <c:extLst>
            <c:ext xmlns:c16="http://schemas.microsoft.com/office/drawing/2014/chart" uri="{C3380CC4-5D6E-409C-BE32-E72D297353CC}">
              <c16:uniqueId val="{00000000-0230-47C2-A956-192CBDC64E73}"/>
            </c:ext>
          </c:extLst>
        </c:ser>
        <c:ser>
          <c:idx val="1"/>
          <c:order val="1"/>
          <c:tx>
            <c:strRef>
              <c:f>Лист1!$C$1</c:f>
              <c:strCache>
                <c:ptCount val="1"/>
                <c:pt idx="0">
                  <c:v>По-скоро лесно</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C$2:$C$3</c:f>
              <c:numCache>
                <c:formatCode>General</c:formatCode>
                <c:ptCount val="2"/>
                <c:pt idx="0">
                  <c:v>34.5</c:v>
                </c:pt>
                <c:pt idx="1">
                  <c:v>39.200000000000003</c:v>
                </c:pt>
              </c:numCache>
            </c:numRef>
          </c:val>
          <c:extLst>
            <c:ext xmlns:c16="http://schemas.microsoft.com/office/drawing/2014/chart" uri="{C3380CC4-5D6E-409C-BE32-E72D297353CC}">
              <c16:uniqueId val="{00000001-0230-47C2-A956-192CBDC64E73}"/>
            </c:ext>
          </c:extLst>
        </c:ser>
        <c:ser>
          <c:idx val="2"/>
          <c:order val="2"/>
          <c:tx>
            <c:strRef>
              <c:f>Лист1!$D$1</c:f>
              <c:strCache>
                <c:ptCount val="1"/>
                <c:pt idx="0">
                  <c:v>По-скоро трудно</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D$2:$D$3</c:f>
              <c:numCache>
                <c:formatCode>General</c:formatCode>
                <c:ptCount val="2"/>
                <c:pt idx="0">
                  <c:v>4.2</c:v>
                </c:pt>
                <c:pt idx="1">
                  <c:v>25.3</c:v>
                </c:pt>
              </c:numCache>
            </c:numRef>
          </c:val>
          <c:extLst>
            <c:ext xmlns:c16="http://schemas.microsoft.com/office/drawing/2014/chart" uri="{C3380CC4-5D6E-409C-BE32-E72D297353CC}">
              <c16:uniqueId val="{00000002-0230-47C2-A956-192CBDC64E73}"/>
            </c:ext>
          </c:extLst>
        </c:ser>
        <c:ser>
          <c:idx val="3"/>
          <c:order val="3"/>
          <c:tx>
            <c:strRef>
              <c:f>Лист1!$E$1</c:f>
              <c:strCache>
                <c:ptCount val="1"/>
                <c:pt idx="0">
                  <c:v>Много трудно</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E$2:$E$3</c:f>
              <c:numCache>
                <c:formatCode>General</c:formatCode>
                <c:ptCount val="2"/>
                <c:pt idx="0">
                  <c:v>1.5</c:v>
                </c:pt>
                <c:pt idx="1">
                  <c:v>9.1999999999999993</c:v>
                </c:pt>
              </c:numCache>
            </c:numRef>
          </c:val>
          <c:extLst>
            <c:ext xmlns:c16="http://schemas.microsoft.com/office/drawing/2014/chart" uri="{C3380CC4-5D6E-409C-BE32-E72D297353CC}">
              <c16:uniqueId val="{00000003-0230-47C2-A956-192CBDC64E73}"/>
            </c:ext>
          </c:extLst>
        </c:ser>
        <c:ser>
          <c:idx val="4"/>
          <c:order val="4"/>
          <c:tx>
            <c:strRef>
              <c:f>Лист1!$F$1</c:f>
              <c:strCache>
                <c:ptCount val="1"/>
                <c:pt idx="0">
                  <c:v>Не знам/не мога да преценя</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F$2:$F$3</c:f>
              <c:numCache>
                <c:formatCode>General</c:formatCode>
                <c:ptCount val="2"/>
                <c:pt idx="0">
                  <c:v>2.2999999999999998</c:v>
                </c:pt>
                <c:pt idx="1">
                  <c:v>5.7</c:v>
                </c:pt>
              </c:numCache>
            </c:numRef>
          </c:val>
          <c:extLst>
            <c:ext xmlns:c16="http://schemas.microsoft.com/office/drawing/2014/chart" uri="{C3380CC4-5D6E-409C-BE32-E72D297353CC}">
              <c16:uniqueId val="{00000004-0230-47C2-A956-192CBDC64E73}"/>
            </c:ext>
          </c:extLst>
        </c:ser>
        <c:dLbls>
          <c:showLegendKey val="0"/>
          <c:showVal val="0"/>
          <c:showCatName val="0"/>
          <c:showSerName val="0"/>
          <c:showPercent val="0"/>
          <c:showBubbleSize val="0"/>
        </c:dLbls>
        <c:gapWidth val="70"/>
        <c:overlap val="100"/>
        <c:axId val="615180240"/>
        <c:axId val="615205616"/>
      </c:barChart>
      <c:catAx>
        <c:axId val="6151802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bg-BG"/>
          </a:p>
        </c:txPr>
        <c:crossAx val="615205616"/>
        <c:crosses val="autoZero"/>
        <c:auto val="1"/>
        <c:lblAlgn val="ctr"/>
        <c:lblOffset val="100"/>
        <c:noMultiLvlLbl val="0"/>
      </c:catAx>
      <c:valAx>
        <c:axId val="615205616"/>
        <c:scaling>
          <c:orientation val="minMax"/>
        </c:scaling>
        <c:delete val="1"/>
        <c:axPos val="b"/>
        <c:numFmt formatCode="0%" sourceLinked="1"/>
        <c:majorTickMark val="none"/>
        <c:minorTickMark val="none"/>
        <c:tickLblPos val="nextTo"/>
        <c:crossAx val="615180240"/>
        <c:crosses val="autoZero"/>
        <c:crossBetween val="between"/>
      </c:valAx>
      <c:spPr>
        <a:noFill/>
        <a:ln>
          <a:noFill/>
        </a:ln>
        <a:effectLst/>
      </c:spPr>
    </c:plotArea>
    <c:legend>
      <c:legendPos val="b"/>
      <c:layout>
        <c:manualLayout>
          <c:xMode val="edge"/>
          <c:yMode val="edge"/>
          <c:x val="0.1836240157480315"/>
          <c:y val="0.90526692265828479"/>
          <c:w val="0.81400196850393702"/>
          <c:h val="4.551433036944325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bg-BG"/>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bg-BG"/>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ru-RU" sz="1440" b="1" dirty="0"/>
              <a:t>До </a:t>
            </a:r>
            <a:r>
              <a:rPr lang="bg-BG" sz="1440" b="1" noProof="0" dirty="0"/>
              <a:t>каква степен се чувствате информирани за възможните ефекти от въвеждането на еврото в България?</a:t>
            </a:r>
          </a:p>
        </c:rich>
      </c:tx>
      <c:layout>
        <c:manualLayout>
          <c:xMode val="edge"/>
          <c:yMode val="edge"/>
          <c:x val="0.23417568897637794"/>
          <c:y val="2.6838984345206589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bg-BG"/>
        </a:p>
      </c:txPr>
    </c:title>
    <c:autoTitleDeleted val="0"/>
    <c:plotArea>
      <c:layout/>
      <c:barChart>
        <c:barDir val="bar"/>
        <c:grouping val="percentStacked"/>
        <c:varyColors val="0"/>
        <c:ser>
          <c:idx val="0"/>
          <c:order val="0"/>
          <c:tx>
            <c:strRef>
              <c:f>Лист1!$B$1</c:f>
              <c:strCache>
                <c:ptCount val="1"/>
                <c:pt idx="0">
                  <c:v>Много добре информиран</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B$2:$B$3</c:f>
              <c:numCache>
                <c:formatCode>General</c:formatCode>
                <c:ptCount val="2"/>
                <c:pt idx="0">
                  <c:v>30.3</c:v>
                </c:pt>
                <c:pt idx="1">
                  <c:v>10.5</c:v>
                </c:pt>
              </c:numCache>
            </c:numRef>
          </c:val>
          <c:extLst>
            <c:ext xmlns:c16="http://schemas.microsoft.com/office/drawing/2014/chart" uri="{C3380CC4-5D6E-409C-BE32-E72D297353CC}">
              <c16:uniqueId val="{00000000-0230-47C2-A956-192CBDC64E73}"/>
            </c:ext>
          </c:extLst>
        </c:ser>
        <c:ser>
          <c:idx val="1"/>
          <c:order val="1"/>
          <c:tx>
            <c:strRef>
              <c:f>Лист1!$C$1</c:f>
              <c:strCache>
                <c:ptCount val="1"/>
                <c:pt idx="0">
                  <c:v>По-скоро добре информиран</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C$2:$C$3</c:f>
              <c:numCache>
                <c:formatCode>General</c:formatCode>
                <c:ptCount val="2"/>
                <c:pt idx="0" formatCode="0.0">
                  <c:v>46</c:v>
                </c:pt>
                <c:pt idx="1">
                  <c:v>31.7</c:v>
                </c:pt>
              </c:numCache>
            </c:numRef>
          </c:val>
          <c:extLst>
            <c:ext xmlns:c16="http://schemas.microsoft.com/office/drawing/2014/chart" uri="{C3380CC4-5D6E-409C-BE32-E72D297353CC}">
              <c16:uniqueId val="{00000001-0230-47C2-A956-192CBDC64E73}"/>
            </c:ext>
          </c:extLst>
        </c:ser>
        <c:ser>
          <c:idx val="2"/>
          <c:order val="2"/>
          <c:tx>
            <c:strRef>
              <c:f>Лист1!$D$1</c:f>
              <c:strCache>
                <c:ptCount val="1"/>
                <c:pt idx="0">
                  <c:v>По-скоро слабо информиран</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D$2:$D$3</c:f>
              <c:numCache>
                <c:formatCode>0.0</c:formatCode>
                <c:ptCount val="2"/>
                <c:pt idx="0" formatCode="General">
                  <c:v>16.900000000000002</c:v>
                </c:pt>
                <c:pt idx="1">
                  <c:v>38</c:v>
                </c:pt>
              </c:numCache>
            </c:numRef>
          </c:val>
          <c:extLst>
            <c:ext xmlns:c16="http://schemas.microsoft.com/office/drawing/2014/chart" uri="{C3380CC4-5D6E-409C-BE32-E72D297353CC}">
              <c16:uniqueId val="{00000002-0230-47C2-A956-192CBDC64E73}"/>
            </c:ext>
          </c:extLst>
        </c:ser>
        <c:ser>
          <c:idx val="3"/>
          <c:order val="3"/>
          <c:tx>
            <c:strRef>
              <c:f>Лист1!$E$1</c:f>
              <c:strCache>
                <c:ptCount val="1"/>
                <c:pt idx="0">
                  <c:v>Изобщо не съм информиран</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E$2:$E$3</c:f>
              <c:numCache>
                <c:formatCode>General</c:formatCode>
                <c:ptCount val="2"/>
                <c:pt idx="0">
                  <c:v>6.1</c:v>
                </c:pt>
                <c:pt idx="1">
                  <c:v>17.8</c:v>
                </c:pt>
              </c:numCache>
            </c:numRef>
          </c:val>
          <c:extLst>
            <c:ext xmlns:c16="http://schemas.microsoft.com/office/drawing/2014/chart" uri="{C3380CC4-5D6E-409C-BE32-E72D297353CC}">
              <c16:uniqueId val="{00000003-0230-47C2-A956-192CBDC64E73}"/>
            </c:ext>
          </c:extLst>
        </c:ser>
        <c:ser>
          <c:idx val="4"/>
          <c:order val="4"/>
          <c:tx>
            <c:strRef>
              <c:f>Лист1!$F$1</c:f>
              <c:strCache>
                <c:ptCount val="1"/>
                <c:pt idx="0">
                  <c:v>Не знам/не мога да преценя</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Бизнес</c:v>
                </c:pt>
                <c:pt idx="1">
                  <c:v>Широка общественост</c:v>
                </c:pt>
              </c:strCache>
            </c:strRef>
          </c:cat>
          <c:val>
            <c:numRef>
              <c:f>Лист1!$F$2:$F$3</c:f>
              <c:numCache>
                <c:formatCode>General</c:formatCode>
                <c:ptCount val="2"/>
                <c:pt idx="0">
                  <c:v>0.8</c:v>
                </c:pt>
                <c:pt idx="1">
                  <c:v>2.1</c:v>
                </c:pt>
              </c:numCache>
            </c:numRef>
          </c:val>
          <c:extLst>
            <c:ext xmlns:c16="http://schemas.microsoft.com/office/drawing/2014/chart" uri="{C3380CC4-5D6E-409C-BE32-E72D297353CC}">
              <c16:uniqueId val="{00000004-0230-47C2-A956-192CBDC64E73}"/>
            </c:ext>
          </c:extLst>
        </c:ser>
        <c:dLbls>
          <c:showLegendKey val="0"/>
          <c:showVal val="0"/>
          <c:showCatName val="0"/>
          <c:showSerName val="0"/>
          <c:showPercent val="0"/>
          <c:showBubbleSize val="0"/>
        </c:dLbls>
        <c:gapWidth val="70"/>
        <c:overlap val="100"/>
        <c:axId val="615180240"/>
        <c:axId val="615205616"/>
      </c:barChart>
      <c:catAx>
        <c:axId val="6151802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bg-BG"/>
          </a:p>
        </c:txPr>
        <c:crossAx val="615205616"/>
        <c:crosses val="autoZero"/>
        <c:auto val="1"/>
        <c:lblAlgn val="ctr"/>
        <c:lblOffset val="100"/>
        <c:noMultiLvlLbl val="0"/>
      </c:catAx>
      <c:valAx>
        <c:axId val="615205616"/>
        <c:scaling>
          <c:orientation val="minMax"/>
        </c:scaling>
        <c:delete val="1"/>
        <c:axPos val="b"/>
        <c:numFmt formatCode="0%" sourceLinked="1"/>
        <c:majorTickMark val="none"/>
        <c:minorTickMark val="none"/>
        <c:tickLblPos val="nextTo"/>
        <c:crossAx val="615180240"/>
        <c:crosses val="autoZero"/>
        <c:crossBetween val="between"/>
      </c:valAx>
      <c:spPr>
        <a:noFill/>
        <a:ln>
          <a:noFill/>
        </a:ln>
        <a:effectLst/>
      </c:spPr>
    </c:plotArea>
    <c:legend>
      <c:legendPos val="b"/>
      <c:layout>
        <c:manualLayout>
          <c:xMode val="edge"/>
          <c:yMode val="edge"/>
          <c:x val="0.1273740157480315"/>
          <c:y val="0.89894036923295639"/>
          <c:w val="0.86087696850393691"/>
          <c:h val="7.91004617573290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bg-BG"/>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bg-BG"/>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r>
              <a:rPr lang="bg-BG" sz="1440" b="1" i="0" u="none" strike="noStrike" baseline="0" noProof="0" dirty="0">
                <a:effectLst/>
              </a:rPr>
              <a:t>Кои са най-важните неща, които бихте искали да научите за въвеждането на еврото в България?</a:t>
            </a:r>
            <a:endParaRPr lang="bg-BG" sz="1440" b="1" u="none" noProof="0" dirty="0"/>
          </a:p>
        </c:rich>
      </c:tx>
      <c:layout>
        <c:manualLayout>
          <c:xMode val="edge"/>
          <c:yMode val="edge"/>
          <c:x val="0.15567528007798792"/>
          <c:y val="0"/>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3163825857437863"/>
          <c:y val="0.1565500315207479"/>
          <c:w val="0.66755200815851223"/>
          <c:h val="0.81535779316557788"/>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Не знам/не мога да преценя</c:v>
                </c:pt>
                <c:pt idx="1">
                  <c:v>Местата, на които ще могат да се обменят левове в евро</c:v>
                </c:pt>
                <c:pt idx="2">
                  <c:v>Ако плащам в лева имат ли право да ми връщат в евро и обратно</c:v>
                </c:pt>
                <c:pt idx="3">
                  <c:v>Докога ще могат да се обменят левове в евро</c:v>
                </c:pt>
                <c:pt idx="4">
                  <c:v>Как ще се преизчислява кредит/лизинг, който имам в лева</c:v>
                </c:pt>
                <c:pt idx="5">
                  <c:v>Какво ще стане със спестяванията ми в банка, които са в лева </c:v>
                </c:pt>
                <c:pt idx="6">
                  <c:v>Докога цените в магазините ще се обявяват в левове и евро</c:v>
                </c:pt>
                <c:pt idx="7">
                  <c:v>Докога ще може да се плаща и в двете валути</c:v>
                </c:pt>
                <c:pt idx="8">
                  <c:v>Дали ще има такси за обменяне на левове в евро</c:v>
                </c:pt>
                <c:pt idx="9">
                  <c:v>Къде трябва да сигнализирам, ако се сблъскам с некоректни търговци</c:v>
                </c:pt>
                <c:pt idx="10">
                  <c:v>Курсът, по който ще се обменят левовете в евро</c:v>
                </c:pt>
                <c:pt idx="11">
                  <c:v>Кой ще следи за измами и санкциониране за злоупотреби</c:v>
                </c:pt>
              </c:strCache>
            </c:strRef>
          </c:cat>
          <c:val>
            <c:numRef>
              <c:f>Лист1!$B$2:$B$13</c:f>
              <c:numCache>
                <c:formatCode>General</c:formatCode>
                <c:ptCount val="12"/>
                <c:pt idx="0" formatCode="0.0">
                  <c:v>4</c:v>
                </c:pt>
                <c:pt idx="1">
                  <c:v>24.7</c:v>
                </c:pt>
                <c:pt idx="2">
                  <c:v>30.7</c:v>
                </c:pt>
                <c:pt idx="3" formatCode="0.0">
                  <c:v>34</c:v>
                </c:pt>
                <c:pt idx="4">
                  <c:v>35.200000000000003</c:v>
                </c:pt>
                <c:pt idx="5" formatCode="0.0">
                  <c:v>38</c:v>
                </c:pt>
                <c:pt idx="6">
                  <c:v>38.700000000000003</c:v>
                </c:pt>
                <c:pt idx="7">
                  <c:v>39.6</c:v>
                </c:pt>
                <c:pt idx="8">
                  <c:v>45.9</c:v>
                </c:pt>
                <c:pt idx="9">
                  <c:v>46.1</c:v>
                </c:pt>
                <c:pt idx="10">
                  <c:v>47.2</c:v>
                </c:pt>
                <c:pt idx="11">
                  <c:v>54.9</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13</c:f>
              <c:strCache>
                <c:ptCount val="12"/>
                <c:pt idx="0">
                  <c:v>Не знам/не мога да преценя</c:v>
                </c:pt>
                <c:pt idx="1">
                  <c:v>Местата, на които ще могат да се обменят левове в евро</c:v>
                </c:pt>
                <c:pt idx="2">
                  <c:v>Ако плащам в лева имат ли право да ми връщат в евро и обратно</c:v>
                </c:pt>
                <c:pt idx="3">
                  <c:v>Докога ще могат да се обменят левове в евро</c:v>
                </c:pt>
                <c:pt idx="4">
                  <c:v>Как ще се преизчислява кредит/лизинг, който имам в лева</c:v>
                </c:pt>
                <c:pt idx="5">
                  <c:v>Какво ще стане със спестяванията ми в банка, които са в лева </c:v>
                </c:pt>
                <c:pt idx="6">
                  <c:v>Докога цените в магазините ще се обявяват в левове и евро</c:v>
                </c:pt>
                <c:pt idx="7">
                  <c:v>Докога ще може да се плаща и в двете валути</c:v>
                </c:pt>
                <c:pt idx="8">
                  <c:v>Дали ще има такси за обменяне на левове в евро</c:v>
                </c:pt>
                <c:pt idx="9">
                  <c:v>Къде трябва да сигнализирам, ако се сблъскам с некоректни търговци</c:v>
                </c:pt>
                <c:pt idx="10">
                  <c:v>Курсът, по който ще се обменят левовете в евро</c:v>
                </c:pt>
                <c:pt idx="11">
                  <c:v>Кой ще следи за измами и санкциониране за злоупотреби</c:v>
                </c:pt>
              </c:strCache>
            </c:strRef>
          </c:cat>
          <c:val>
            <c:numRef>
              <c:f>Лист1!$C$2:$C$13</c:f>
              <c:numCache>
                <c:formatCode>General</c:formatCode>
                <c:ptCount val="12"/>
                <c:pt idx="0">
                  <c:v>96</c:v>
                </c:pt>
                <c:pt idx="1">
                  <c:v>75.3</c:v>
                </c:pt>
                <c:pt idx="2">
                  <c:v>69.3</c:v>
                </c:pt>
                <c:pt idx="3">
                  <c:v>66</c:v>
                </c:pt>
                <c:pt idx="4">
                  <c:v>64.8</c:v>
                </c:pt>
                <c:pt idx="5">
                  <c:v>62</c:v>
                </c:pt>
                <c:pt idx="6">
                  <c:v>61.3</c:v>
                </c:pt>
                <c:pt idx="7">
                  <c:v>60.4</c:v>
                </c:pt>
                <c:pt idx="8">
                  <c:v>54.1</c:v>
                </c:pt>
                <c:pt idx="9">
                  <c:v>53.9</c:v>
                </c:pt>
                <c:pt idx="10">
                  <c:v>52.8</c:v>
                </c:pt>
                <c:pt idx="11">
                  <c:v>45.1</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Не знам/не мога да преценя</c:v>
                </c:pt>
                <c:pt idx="1">
                  <c:v>Местата, на които ще могат да се обменят левове в евро</c:v>
                </c:pt>
                <c:pt idx="2">
                  <c:v>Ако плащам в лева имат ли право да ми връщат в евро и обратно</c:v>
                </c:pt>
                <c:pt idx="3">
                  <c:v>Докога ще могат да се обменят левове в евро</c:v>
                </c:pt>
                <c:pt idx="4">
                  <c:v>Как ще се преизчислява кредит/лизинг, който имам в лева</c:v>
                </c:pt>
                <c:pt idx="5">
                  <c:v>Какво ще стане със спестяванията ми в банка, които са в лева </c:v>
                </c:pt>
                <c:pt idx="6">
                  <c:v>Докога цените в магазините ще се обявяват в левове и евро</c:v>
                </c:pt>
                <c:pt idx="7">
                  <c:v>Докога ще може да се плаща и в двете валути</c:v>
                </c:pt>
                <c:pt idx="8">
                  <c:v>Дали ще има такси за обменяне на левове в евро</c:v>
                </c:pt>
                <c:pt idx="9">
                  <c:v>Къде трябва да сигнализирам, ако се сблъскам с некоректни търговци</c:v>
                </c:pt>
                <c:pt idx="10">
                  <c:v>Курсът, по който ще се обменят левовете в евро</c:v>
                </c:pt>
                <c:pt idx="11">
                  <c:v>Кой ще следи за измами и санкциониране за злоупотреби</c:v>
                </c:pt>
              </c:strCache>
            </c:strRef>
          </c:cat>
          <c:val>
            <c:numRef>
              <c:f>Лист1!$D$2:$D$13</c:f>
              <c:numCache>
                <c:formatCode>General</c:formatCode>
                <c:ptCount val="12"/>
                <c:pt idx="0" formatCode="0.0">
                  <c:v>6.1</c:v>
                </c:pt>
                <c:pt idx="1">
                  <c:v>28.4</c:v>
                </c:pt>
                <c:pt idx="2">
                  <c:v>36.4</c:v>
                </c:pt>
                <c:pt idx="3">
                  <c:v>47.9</c:v>
                </c:pt>
                <c:pt idx="4">
                  <c:v>43.3</c:v>
                </c:pt>
                <c:pt idx="5">
                  <c:v>44.1</c:v>
                </c:pt>
                <c:pt idx="6">
                  <c:v>42.1</c:v>
                </c:pt>
                <c:pt idx="7">
                  <c:v>47.5</c:v>
                </c:pt>
                <c:pt idx="8">
                  <c:v>45.6</c:v>
                </c:pt>
                <c:pt idx="9">
                  <c:v>54.4</c:v>
                </c:pt>
                <c:pt idx="10">
                  <c:v>50.2</c:v>
                </c:pt>
                <c:pt idx="11">
                  <c:v>61.3</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13</c:f>
              <c:strCache>
                <c:ptCount val="12"/>
                <c:pt idx="0">
                  <c:v>Не знам/не мога да преценя</c:v>
                </c:pt>
                <c:pt idx="1">
                  <c:v>Местата, на които ще могат да се обменят левове в евро</c:v>
                </c:pt>
                <c:pt idx="2">
                  <c:v>Ако плащам в лева имат ли право да ми връщат в евро и обратно</c:v>
                </c:pt>
                <c:pt idx="3">
                  <c:v>Докога ще могат да се обменят левове в евро</c:v>
                </c:pt>
                <c:pt idx="4">
                  <c:v>Как ще се преизчислява кредит/лизинг, който имам в лева</c:v>
                </c:pt>
                <c:pt idx="5">
                  <c:v>Какво ще стане със спестяванията ми в банка, които са в лева </c:v>
                </c:pt>
                <c:pt idx="6">
                  <c:v>Докога цените в магазините ще се обявяват в левове и евро</c:v>
                </c:pt>
                <c:pt idx="7">
                  <c:v>Докога ще може да се плаща и в двете валути</c:v>
                </c:pt>
                <c:pt idx="8">
                  <c:v>Дали ще има такси за обменяне на левове в евро</c:v>
                </c:pt>
                <c:pt idx="9">
                  <c:v>Къде трябва да сигнализирам, ако се сблъскам с некоректни търговци</c:v>
                </c:pt>
                <c:pt idx="10">
                  <c:v>Курсът, по който ще се обменят левовете в евро</c:v>
                </c:pt>
                <c:pt idx="11">
                  <c:v>Кой ще следи за измами и санкциониране за злоупотреби</c:v>
                </c:pt>
              </c:strCache>
            </c:strRef>
          </c:cat>
          <c:val>
            <c:numRef>
              <c:f>Лист1!$E$2:$E$13</c:f>
              <c:numCache>
                <c:formatCode>General</c:formatCode>
                <c:ptCount val="12"/>
                <c:pt idx="0">
                  <c:v>93.9</c:v>
                </c:pt>
                <c:pt idx="1">
                  <c:v>71.599999999999994</c:v>
                </c:pt>
                <c:pt idx="2">
                  <c:v>63.6</c:v>
                </c:pt>
                <c:pt idx="3">
                  <c:v>52.1</c:v>
                </c:pt>
                <c:pt idx="4">
                  <c:v>56.7</c:v>
                </c:pt>
                <c:pt idx="5">
                  <c:v>55.9</c:v>
                </c:pt>
                <c:pt idx="6">
                  <c:v>57.9</c:v>
                </c:pt>
                <c:pt idx="7">
                  <c:v>52.5</c:v>
                </c:pt>
                <c:pt idx="8">
                  <c:v>54.4</c:v>
                </c:pt>
                <c:pt idx="9">
                  <c:v>45.6</c:v>
                </c:pt>
                <c:pt idx="10">
                  <c:v>49.8</c:v>
                </c:pt>
                <c:pt idx="11">
                  <c:v>38.700000000000003</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bg-BG" sz="1100" b="0" dirty="0"/>
              <a:t>НАСЕЛЕНО МЯСТО</a:t>
            </a:r>
          </a:p>
        </c:rich>
      </c:tx>
      <c:layout>
        <c:manualLayout>
          <c:xMode val="edge"/>
          <c:yMode val="edge"/>
          <c:x val="0.18690646890132104"/>
          <c:y val="2.5069154018039264E-2"/>
        </c:manualLayout>
      </c:layout>
      <c:overlay val="0"/>
    </c:title>
    <c:autoTitleDeleted val="0"/>
    <c:plotArea>
      <c:layout>
        <c:manualLayout>
          <c:layoutTarget val="inner"/>
          <c:xMode val="edge"/>
          <c:yMode val="edge"/>
          <c:x val="0.34586264375351988"/>
          <c:y val="0.11232503391125273"/>
          <c:w val="0.48037235593046063"/>
          <c:h val="0.82237510928572877"/>
        </c:manualLayout>
      </c:layout>
      <c:barChart>
        <c:barDir val="bar"/>
        <c:grouping val="clustered"/>
        <c:varyColors val="0"/>
        <c:ser>
          <c:idx val="0"/>
          <c:order val="0"/>
          <c:tx>
            <c:strRef>
              <c:f>Sheet1!$B$1</c:f>
              <c:strCache>
                <c:ptCount val="1"/>
                <c:pt idx="0">
                  <c:v>Населено място</c:v>
                </c:pt>
              </c:strCache>
            </c:strRef>
          </c:tx>
          <c:spPr>
            <a:solidFill>
              <a:schemeClr val="accent2"/>
            </a:solidFill>
            <a:effectLst/>
          </c:spPr>
          <c:invertIfNegative val="0"/>
          <c:dPt>
            <c:idx val="0"/>
            <c:invertIfNegative val="0"/>
            <c:bubble3D val="0"/>
            <c:extLst>
              <c:ext xmlns:c16="http://schemas.microsoft.com/office/drawing/2014/chart" uri="{C3380CC4-5D6E-409C-BE32-E72D297353CC}">
                <c16:uniqueId val="{00000000-281C-40CE-A41E-E1ACF50E0F57}"/>
              </c:ext>
            </c:extLst>
          </c:dPt>
          <c:dPt>
            <c:idx val="1"/>
            <c:invertIfNegative val="0"/>
            <c:bubble3D val="0"/>
            <c:extLst>
              <c:ext xmlns:c16="http://schemas.microsoft.com/office/drawing/2014/chart" uri="{C3380CC4-5D6E-409C-BE32-E72D297353CC}">
                <c16:uniqueId val="{00000001-281C-40CE-A41E-E1ACF50E0F57}"/>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София-столица</c:v>
                </c:pt>
                <c:pt idx="1">
                  <c:v>Областен град</c:v>
                </c:pt>
                <c:pt idx="2">
                  <c:v>Малък град</c:v>
                </c:pt>
                <c:pt idx="3">
                  <c:v>Село</c:v>
                </c:pt>
              </c:strCache>
            </c:strRef>
          </c:cat>
          <c:val>
            <c:numRef>
              <c:f>Sheet1!$B$2:$B$5</c:f>
              <c:numCache>
                <c:formatCode>0.0</c:formatCode>
                <c:ptCount val="4"/>
                <c:pt idx="0">
                  <c:v>26.1</c:v>
                </c:pt>
                <c:pt idx="1">
                  <c:v>32</c:v>
                </c:pt>
                <c:pt idx="2">
                  <c:v>16.2</c:v>
                </c:pt>
                <c:pt idx="3">
                  <c:v>25.7</c:v>
                </c:pt>
              </c:numCache>
            </c:numRef>
          </c:val>
          <c:extLst>
            <c:ext xmlns:c16="http://schemas.microsoft.com/office/drawing/2014/chart" uri="{C3380CC4-5D6E-409C-BE32-E72D297353CC}">
              <c16:uniqueId val="{00000002-281C-40CE-A41E-E1ACF50E0F57}"/>
            </c:ext>
          </c:extLst>
        </c:ser>
        <c:dLbls>
          <c:showLegendKey val="0"/>
          <c:showVal val="0"/>
          <c:showCatName val="0"/>
          <c:showSerName val="0"/>
          <c:showPercent val="0"/>
          <c:showBubbleSize val="0"/>
        </c:dLbls>
        <c:gapWidth val="50"/>
        <c:axId val="98311168"/>
        <c:axId val="98312960"/>
      </c:barChart>
      <c:catAx>
        <c:axId val="98311168"/>
        <c:scaling>
          <c:orientation val="maxMin"/>
        </c:scaling>
        <c:delete val="0"/>
        <c:axPos val="l"/>
        <c:numFmt formatCode="General" sourceLinked="0"/>
        <c:majorTickMark val="out"/>
        <c:minorTickMark val="none"/>
        <c:tickLblPos val="nextTo"/>
        <c:spPr>
          <a:ln>
            <a:noFill/>
          </a:ln>
        </c:spPr>
        <c:crossAx val="98312960"/>
        <c:crosses val="autoZero"/>
        <c:auto val="1"/>
        <c:lblAlgn val="ctr"/>
        <c:lblOffset val="100"/>
        <c:noMultiLvlLbl val="0"/>
      </c:catAx>
      <c:valAx>
        <c:axId val="98312960"/>
        <c:scaling>
          <c:orientation val="minMax"/>
        </c:scaling>
        <c:delete val="1"/>
        <c:axPos val="t"/>
        <c:numFmt formatCode="0.0" sourceLinked="1"/>
        <c:majorTickMark val="out"/>
        <c:minorTickMark val="none"/>
        <c:tickLblPos val="nextTo"/>
        <c:crossAx val="98311168"/>
        <c:crosses val="autoZero"/>
        <c:crossBetween val="between"/>
      </c:valAx>
    </c:plotArea>
    <c:plotVisOnly val="1"/>
    <c:dispBlanksAs val="gap"/>
    <c:showDLblsOverMax val="0"/>
  </c:chart>
  <c:txPr>
    <a:bodyPr/>
    <a:lstStyle/>
    <a:p>
      <a:pPr>
        <a:defRPr sz="1100">
          <a:latin typeface="Arial Narrow" panose="020B0606020202030204" pitchFamily="34" charset="0"/>
        </a:defRPr>
      </a:pPr>
      <a:endParaRPr lang="bg-BG"/>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Образование</c:v>
                </c:pt>
              </c:strCache>
            </c:strRef>
          </c:tx>
          <c:dPt>
            <c:idx val="0"/>
            <c:bubble3D val="0"/>
            <c:spPr>
              <a:solidFill>
                <a:schemeClr val="accent2"/>
              </a:solidFill>
            </c:spPr>
            <c:extLst>
              <c:ext xmlns:c16="http://schemas.microsoft.com/office/drawing/2014/chart" uri="{C3380CC4-5D6E-409C-BE32-E72D297353CC}">
                <c16:uniqueId val="{00000001-A2C1-4494-88DF-335A40E5FF11}"/>
              </c:ext>
            </c:extLst>
          </c:dPt>
          <c:dPt>
            <c:idx val="1"/>
            <c:bubble3D val="0"/>
            <c:spPr>
              <a:solidFill>
                <a:schemeClr val="accent1"/>
              </a:solidFill>
            </c:spPr>
            <c:extLst>
              <c:ext xmlns:c16="http://schemas.microsoft.com/office/drawing/2014/chart" uri="{C3380CC4-5D6E-409C-BE32-E72D297353CC}">
                <c16:uniqueId val="{00000003-A2C1-4494-88DF-335A40E5FF11}"/>
              </c:ext>
            </c:extLst>
          </c:dPt>
          <c:dPt>
            <c:idx val="2"/>
            <c:bubble3D val="0"/>
            <c:spPr>
              <a:solidFill>
                <a:schemeClr val="bg1">
                  <a:lumMod val="75000"/>
                </a:schemeClr>
              </a:solidFill>
            </c:spPr>
            <c:extLst>
              <c:ext xmlns:c16="http://schemas.microsoft.com/office/drawing/2014/chart" uri="{C3380CC4-5D6E-409C-BE32-E72D297353CC}">
                <c16:uniqueId val="{00000005-A2C1-4494-88DF-335A40E5FF11}"/>
              </c:ext>
            </c:extLst>
          </c:dPt>
          <c:cat>
            <c:strRef>
              <c:f>Sheet1!$A$2:$A$4</c:f>
              <c:strCache>
                <c:ptCount val="3"/>
                <c:pt idx="0">
                  <c:v>Висше и полувисше</c:v>
                </c:pt>
                <c:pt idx="1">
                  <c:v>Средно</c:v>
                </c:pt>
                <c:pt idx="2">
                  <c:v>Основно и по-ниско</c:v>
                </c:pt>
              </c:strCache>
            </c:strRef>
          </c:cat>
          <c:val>
            <c:numRef>
              <c:f>Sheet1!$B$2:$B$4</c:f>
              <c:numCache>
                <c:formatCode>0.0</c:formatCode>
                <c:ptCount val="3"/>
                <c:pt idx="0">
                  <c:v>25.9</c:v>
                </c:pt>
                <c:pt idx="1">
                  <c:v>48.9</c:v>
                </c:pt>
                <c:pt idx="2">
                  <c:v>25.2</c:v>
                </c:pt>
              </c:numCache>
            </c:numRef>
          </c:val>
          <c:extLst>
            <c:ext xmlns:c16="http://schemas.microsoft.com/office/drawing/2014/chart" uri="{C3380CC4-5D6E-409C-BE32-E72D297353CC}">
              <c16:uniqueId val="{00000006-A2C1-4494-88DF-335A40E5FF11}"/>
            </c:ext>
          </c:extLst>
        </c:ser>
        <c:dLbls>
          <c:showLegendKey val="0"/>
          <c:showVal val="0"/>
          <c:showCatName val="0"/>
          <c:showSerName val="0"/>
          <c:showPercent val="0"/>
          <c:showBubbleSize val="0"/>
          <c:showLeaderLines val="1"/>
        </c:dLbls>
        <c:firstSliceAng val="44"/>
      </c:pieChart>
    </c:plotArea>
    <c:plotVisOnly val="1"/>
    <c:dispBlanksAs val="gap"/>
    <c:showDLblsOverMax val="0"/>
  </c:chart>
  <c:txPr>
    <a:bodyPr/>
    <a:lstStyle/>
    <a:p>
      <a:pPr>
        <a:defRPr sz="1800"/>
      </a:pPr>
      <a:endParaRPr lang="bg-BG"/>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386354866095552E-2"/>
          <c:y val="0.17437858126734659"/>
          <c:w val="0.86522729026780887"/>
          <c:h val="0.63442597679154633"/>
        </c:manualLayout>
      </c:layout>
      <c:barChart>
        <c:barDir val="col"/>
        <c:grouping val="stacked"/>
        <c:varyColors val="0"/>
        <c:ser>
          <c:idx val="0"/>
          <c:order val="0"/>
          <c:tx>
            <c:strRef>
              <c:f>Лист1!$B$1</c:f>
              <c:strCache>
                <c:ptCount val="1"/>
                <c:pt idx="0">
                  <c:v>Серия 1</c:v>
                </c:pt>
              </c:strCache>
            </c:strRef>
          </c:tx>
          <c:spPr>
            <a:solidFill>
              <a:schemeClr val="accent6"/>
            </a:solidFill>
            <a:ln>
              <a:noFill/>
            </a:ln>
            <a:effectLst/>
          </c:spPr>
          <c:invertIfNegative val="0"/>
          <c:dLbls>
            <c:dLbl>
              <c:idx val="0"/>
              <c:layout>
                <c:manualLayout>
                  <c:x val="-6.1260322605541408E-3"/>
                  <c:y val="-0.346049738463333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F9-4322-9FDC-E1A9C9140C0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ългарска</c:v>
                </c:pt>
                <c:pt idx="1">
                  <c:v>Чужда</c:v>
                </c:pt>
                <c:pt idx="2">
                  <c:v>Смесена</c:v>
                </c:pt>
              </c:strCache>
            </c:strRef>
          </c:cat>
          <c:val>
            <c:numRef>
              <c:f>Лист1!$B$2:$B$4</c:f>
              <c:numCache>
                <c:formatCode>General</c:formatCode>
                <c:ptCount val="3"/>
                <c:pt idx="0">
                  <c:v>93.9</c:v>
                </c:pt>
                <c:pt idx="1">
                  <c:v>5</c:v>
                </c:pt>
                <c:pt idx="2">
                  <c:v>1.1000000000000001</c:v>
                </c:pt>
              </c:numCache>
            </c:numRef>
          </c:val>
          <c:extLst>
            <c:ext xmlns:c16="http://schemas.microsoft.com/office/drawing/2014/chart" uri="{C3380CC4-5D6E-409C-BE32-E72D297353CC}">
              <c16:uniqueId val="{00000001-DBF9-4322-9FDC-E1A9C9140C00}"/>
            </c:ext>
          </c:extLst>
        </c:ser>
        <c:dLbls>
          <c:showLegendKey val="0"/>
          <c:showVal val="0"/>
          <c:showCatName val="0"/>
          <c:showSerName val="0"/>
          <c:showPercent val="0"/>
          <c:showBubbleSize val="0"/>
        </c:dLbls>
        <c:gapWidth val="70"/>
        <c:overlap val="100"/>
        <c:axId val="1838832768"/>
        <c:axId val="1838826112"/>
      </c:barChart>
      <c:catAx>
        <c:axId val="1838832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1838826112"/>
        <c:crosses val="autoZero"/>
        <c:auto val="1"/>
        <c:lblAlgn val="ctr"/>
        <c:lblOffset val="100"/>
        <c:noMultiLvlLbl val="0"/>
      </c:catAx>
      <c:valAx>
        <c:axId val="1838826112"/>
        <c:scaling>
          <c:orientation val="minMax"/>
        </c:scaling>
        <c:delete val="1"/>
        <c:axPos val="l"/>
        <c:numFmt formatCode="General" sourceLinked="1"/>
        <c:majorTickMark val="none"/>
        <c:minorTickMark val="none"/>
        <c:tickLblPos val="nextTo"/>
        <c:crossAx val="183883276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mn-lt"/>
        </a:defRPr>
      </a:pPr>
      <a:endParaRPr lang="bg-BG"/>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r>
              <a:rPr lang="ru-RU" b="1" dirty="0"/>
              <a:t>Като страна-членка на ЕС България е заявила желание да се </a:t>
            </a:r>
            <a:r>
              <a:rPr lang="bg-BG" b="1" noProof="0" dirty="0"/>
              <a:t>присъедини към еврозоната. Вие лично одобрявате ли влизането на България в еврозоната</a:t>
            </a:r>
            <a:r>
              <a:rPr lang="ru-RU" b="1" dirty="0"/>
              <a:t>? </a:t>
            </a:r>
            <a:endParaRPr lang="bg-BG" b="1" dirty="0"/>
          </a:p>
        </c:rich>
      </c:tx>
      <c:layout>
        <c:manualLayout>
          <c:xMode val="edge"/>
          <c:yMode val="edge"/>
          <c:x val="0.17362885728390112"/>
          <c:y val="1.0853362509762033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15085321479828301"/>
          <c:y val="0.22639653494687442"/>
          <c:w val="0.83392306627711976"/>
          <c:h val="0.70893534532858549"/>
        </c:manualLayout>
      </c:layout>
      <c:barChart>
        <c:barDir val="col"/>
        <c:grouping val="percentStacked"/>
        <c:varyColors val="0"/>
        <c:ser>
          <c:idx val="0"/>
          <c:order val="0"/>
          <c:tx>
            <c:strRef>
              <c:f>Лист1!$B$1</c:f>
              <c:strCache>
                <c:ptCount val="1"/>
                <c:pt idx="0">
                  <c:v>Не знам/не мога да преценя</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Широка общественост</c:v>
                </c:pt>
                <c:pt idx="1">
                  <c:v>Бизнес</c:v>
                </c:pt>
              </c:strCache>
            </c:strRef>
          </c:cat>
          <c:val>
            <c:numRef>
              <c:f>Лист1!$B$2:$B$3</c:f>
              <c:numCache>
                <c:formatCode>General</c:formatCode>
                <c:ptCount val="2"/>
                <c:pt idx="0">
                  <c:v>16.8</c:v>
                </c:pt>
                <c:pt idx="1">
                  <c:v>2.2999999999999998</c:v>
                </c:pt>
              </c:numCache>
            </c:numRef>
          </c:val>
          <c:extLst>
            <c:ext xmlns:c16="http://schemas.microsoft.com/office/drawing/2014/chart" uri="{C3380CC4-5D6E-409C-BE32-E72D297353CC}">
              <c16:uniqueId val="{00000000-7102-48E8-A0EA-F3F05835AE3B}"/>
            </c:ext>
          </c:extLst>
        </c:ser>
        <c:ser>
          <c:idx val="1"/>
          <c:order val="1"/>
          <c:tx>
            <c:strRef>
              <c:f>Лист1!$C$1</c:f>
              <c:strCache>
                <c:ptCount val="1"/>
                <c:pt idx="0">
                  <c:v>Изобщо не одобрявам</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Широка общественост</c:v>
                </c:pt>
                <c:pt idx="1">
                  <c:v>Бизнес</c:v>
                </c:pt>
              </c:strCache>
            </c:strRef>
          </c:cat>
          <c:val>
            <c:numRef>
              <c:f>Лист1!$C$2:$C$3</c:f>
              <c:numCache>
                <c:formatCode>0.0</c:formatCode>
                <c:ptCount val="2"/>
                <c:pt idx="0" formatCode="General">
                  <c:v>27.400000000000002</c:v>
                </c:pt>
                <c:pt idx="1">
                  <c:v>18</c:v>
                </c:pt>
              </c:numCache>
            </c:numRef>
          </c:val>
          <c:extLst>
            <c:ext xmlns:c16="http://schemas.microsoft.com/office/drawing/2014/chart" uri="{C3380CC4-5D6E-409C-BE32-E72D297353CC}">
              <c16:uniqueId val="{00000001-7102-48E8-A0EA-F3F05835AE3B}"/>
            </c:ext>
          </c:extLst>
        </c:ser>
        <c:ser>
          <c:idx val="2"/>
          <c:order val="2"/>
          <c:tx>
            <c:strRef>
              <c:f>Лист1!$D$1</c:f>
              <c:strCache>
                <c:ptCount val="1"/>
                <c:pt idx="0">
                  <c:v>По-скоро не одобрявам</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Широка общественост</c:v>
                </c:pt>
                <c:pt idx="1">
                  <c:v>Бизнес</c:v>
                </c:pt>
              </c:strCache>
            </c:strRef>
          </c:cat>
          <c:val>
            <c:numRef>
              <c:f>Лист1!$D$2:$D$3</c:f>
              <c:numCache>
                <c:formatCode>General</c:formatCode>
                <c:ptCount val="2"/>
                <c:pt idx="0" formatCode="0.0">
                  <c:v>23</c:v>
                </c:pt>
                <c:pt idx="1">
                  <c:v>15.299999999999999</c:v>
                </c:pt>
              </c:numCache>
            </c:numRef>
          </c:val>
          <c:extLst>
            <c:ext xmlns:c16="http://schemas.microsoft.com/office/drawing/2014/chart" uri="{C3380CC4-5D6E-409C-BE32-E72D297353CC}">
              <c16:uniqueId val="{00000002-7102-48E8-A0EA-F3F05835AE3B}"/>
            </c:ext>
          </c:extLst>
        </c:ser>
        <c:ser>
          <c:idx val="3"/>
          <c:order val="3"/>
          <c:tx>
            <c:strRef>
              <c:f>Лист1!$E$1</c:f>
              <c:strCache>
                <c:ptCount val="1"/>
                <c:pt idx="0">
                  <c:v>По-скоро одобрявам</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Широка общественост</c:v>
                </c:pt>
                <c:pt idx="1">
                  <c:v>Бизнес</c:v>
                </c:pt>
              </c:strCache>
            </c:strRef>
          </c:cat>
          <c:val>
            <c:numRef>
              <c:f>Лист1!$E$2:$E$3</c:f>
              <c:numCache>
                <c:formatCode>General</c:formatCode>
                <c:ptCount val="2"/>
                <c:pt idx="0">
                  <c:v>17.8</c:v>
                </c:pt>
                <c:pt idx="1">
                  <c:v>17.599999999999998</c:v>
                </c:pt>
              </c:numCache>
            </c:numRef>
          </c:val>
          <c:extLst>
            <c:ext xmlns:c16="http://schemas.microsoft.com/office/drawing/2014/chart" uri="{C3380CC4-5D6E-409C-BE32-E72D297353CC}">
              <c16:uniqueId val="{00000003-7102-48E8-A0EA-F3F05835AE3B}"/>
            </c:ext>
          </c:extLst>
        </c:ser>
        <c:ser>
          <c:idx val="4"/>
          <c:order val="4"/>
          <c:tx>
            <c:strRef>
              <c:f>Лист1!$F$1</c:f>
              <c:strCache>
                <c:ptCount val="1"/>
                <c:pt idx="0">
                  <c:v>Напълно одобрявам</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Широка общественост</c:v>
                </c:pt>
                <c:pt idx="1">
                  <c:v>Бизнес</c:v>
                </c:pt>
              </c:strCache>
            </c:strRef>
          </c:cat>
          <c:val>
            <c:numRef>
              <c:f>Лист1!$F$2:$F$3</c:f>
              <c:numCache>
                <c:formatCode>General</c:formatCode>
                <c:ptCount val="2"/>
                <c:pt idx="0" formatCode="0.0">
                  <c:v>15</c:v>
                </c:pt>
                <c:pt idx="1">
                  <c:v>46.7</c:v>
                </c:pt>
              </c:numCache>
            </c:numRef>
          </c:val>
          <c:extLst>
            <c:ext xmlns:c16="http://schemas.microsoft.com/office/drawing/2014/chart" uri="{C3380CC4-5D6E-409C-BE32-E72D297353CC}">
              <c16:uniqueId val="{00000004-7102-48E8-A0EA-F3F05835AE3B}"/>
            </c:ext>
          </c:extLst>
        </c:ser>
        <c:dLbls>
          <c:showLegendKey val="0"/>
          <c:showVal val="0"/>
          <c:showCatName val="0"/>
          <c:showSerName val="0"/>
          <c:showPercent val="0"/>
          <c:showBubbleSize val="0"/>
        </c:dLbls>
        <c:gapWidth val="120"/>
        <c:overlap val="100"/>
        <c:axId val="1748192384"/>
        <c:axId val="1748189056"/>
      </c:barChart>
      <c:catAx>
        <c:axId val="1748192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crossAx val="1748189056"/>
        <c:crosses val="autoZero"/>
        <c:auto val="1"/>
        <c:lblAlgn val="ctr"/>
        <c:lblOffset val="100"/>
        <c:noMultiLvlLbl val="0"/>
      </c:catAx>
      <c:valAx>
        <c:axId val="1748189056"/>
        <c:scaling>
          <c:orientation val="minMax"/>
        </c:scaling>
        <c:delete val="1"/>
        <c:axPos val="l"/>
        <c:numFmt formatCode="0%" sourceLinked="1"/>
        <c:majorTickMark val="none"/>
        <c:minorTickMark val="none"/>
        <c:tickLblPos val="nextTo"/>
        <c:crossAx val="1748192384"/>
        <c:crosses val="autoZero"/>
        <c:crossBetween val="between"/>
      </c:valAx>
      <c:spPr>
        <a:noFill/>
        <a:ln>
          <a:noFill/>
        </a:ln>
        <a:effectLst/>
      </c:spPr>
    </c:plotArea>
    <c:legend>
      <c:legendPos val="l"/>
      <c:layout>
        <c:manualLayout>
          <c:xMode val="edge"/>
          <c:yMode val="edge"/>
          <c:x val="8.3038466861440185E-3"/>
          <c:y val="0.30226695975227857"/>
          <c:w val="0.20468916696725428"/>
          <c:h val="0.4267903895921266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bg-BG"/>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r>
              <a:rPr lang="bg-BG" sz="1400" b="1" i="0" u="none" strike="noStrike" baseline="0" dirty="0">
                <a:effectLst/>
              </a:rPr>
              <a:t>В по-дългосрочен план, какви са вашите очаквания за ефектите от въвеждането на еврото върху:  икономиката на България/ вашата компания?</a:t>
            </a:r>
            <a:endParaRPr lang="bg-BG" sz="1400" b="1" u="none" dirty="0"/>
          </a:p>
        </c:rich>
      </c:tx>
      <c:layout>
        <c:manualLayout>
          <c:xMode val="edge"/>
          <c:yMode val="edge"/>
          <c:x val="0.16578124999999996"/>
          <c:y val="5.6249996539739389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1.7187500000000001E-2"/>
          <c:y val="0.20241804857172438"/>
          <c:w val="0.8774772391732284"/>
          <c:h val="0.73291383286701328"/>
        </c:manualLayout>
      </c:layout>
      <c:barChart>
        <c:barDir val="col"/>
        <c:grouping val="clustered"/>
        <c:varyColors val="0"/>
        <c:ser>
          <c:idx val="0"/>
          <c:order val="0"/>
          <c:tx>
            <c:strRef>
              <c:f>Лист1!$B$1</c:f>
              <c:strCache>
                <c:ptCount val="1"/>
                <c:pt idx="0">
                  <c:v>Очаквани ефекти върху икономиката на България</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Позитивни</c:v>
                </c:pt>
                <c:pt idx="1">
                  <c:v>Негативни</c:v>
                </c:pt>
                <c:pt idx="2">
                  <c:v>Без мнение</c:v>
                </c:pt>
              </c:strCache>
            </c:strRef>
          </c:cat>
          <c:val>
            <c:numRef>
              <c:f>Лист1!$B$2:$B$4</c:f>
              <c:numCache>
                <c:formatCode>General</c:formatCode>
                <c:ptCount val="3"/>
                <c:pt idx="0">
                  <c:v>59.4</c:v>
                </c:pt>
                <c:pt idx="1">
                  <c:v>27.6</c:v>
                </c:pt>
                <c:pt idx="2" formatCode="0.0">
                  <c:v>13</c:v>
                </c:pt>
              </c:numCache>
            </c:numRef>
          </c:val>
          <c:extLst>
            <c:ext xmlns:c16="http://schemas.microsoft.com/office/drawing/2014/chart" uri="{C3380CC4-5D6E-409C-BE32-E72D297353CC}">
              <c16:uniqueId val="{00000000-0457-44E7-AC63-0DADBC7098D3}"/>
            </c:ext>
          </c:extLst>
        </c:ser>
        <c:ser>
          <c:idx val="1"/>
          <c:order val="1"/>
          <c:tx>
            <c:strRef>
              <c:f>Лист1!$C$1</c:f>
              <c:strCache>
                <c:ptCount val="1"/>
                <c:pt idx="0">
                  <c:v>Очаквани ефекти върху компанията</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Позитивни</c:v>
                </c:pt>
                <c:pt idx="1">
                  <c:v>Негативни</c:v>
                </c:pt>
                <c:pt idx="2">
                  <c:v>Без мнение</c:v>
                </c:pt>
              </c:strCache>
            </c:strRef>
          </c:cat>
          <c:val>
            <c:numRef>
              <c:f>Лист1!$C$2:$C$4</c:f>
              <c:numCache>
                <c:formatCode>General</c:formatCode>
                <c:ptCount val="3"/>
                <c:pt idx="0">
                  <c:v>61.3</c:v>
                </c:pt>
                <c:pt idx="1">
                  <c:v>17.600000000000001</c:v>
                </c:pt>
                <c:pt idx="2">
                  <c:v>21.1</c:v>
                </c:pt>
              </c:numCache>
            </c:numRef>
          </c:val>
          <c:extLst>
            <c:ext xmlns:c16="http://schemas.microsoft.com/office/drawing/2014/chart" uri="{C3380CC4-5D6E-409C-BE32-E72D297353CC}">
              <c16:uniqueId val="{00000001-0457-44E7-AC63-0DADBC7098D3}"/>
            </c:ext>
          </c:extLst>
        </c:ser>
        <c:dLbls>
          <c:showLegendKey val="0"/>
          <c:showVal val="0"/>
          <c:showCatName val="0"/>
          <c:showSerName val="0"/>
          <c:showPercent val="0"/>
          <c:showBubbleSize val="0"/>
        </c:dLbls>
        <c:gapWidth val="79"/>
        <c:axId val="352644112"/>
        <c:axId val="352644944"/>
      </c:barChart>
      <c:catAx>
        <c:axId val="35264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crossAx val="352644944"/>
        <c:crosses val="autoZero"/>
        <c:auto val="1"/>
        <c:lblAlgn val="ctr"/>
        <c:lblOffset val="100"/>
        <c:noMultiLvlLbl val="0"/>
      </c:catAx>
      <c:valAx>
        <c:axId val="352644944"/>
        <c:scaling>
          <c:orientation val="minMax"/>
        </c:scaling>
        <c:delete val="1"/>
        <c:axPos val="l"/>
        <c:numFmt formatCode="General" sourceLinked="1"/>
        <c:majorTickMark val="none"/>
        <c:minorTickMark val="none"/>
        <c:tickLblPos val="nextTo"/>
        <c:crossAx val="352644112"/>
        <c:crosses val="autoZero"/>
        <c:crossBetween val="between"/>
      </c:valAx>
      <c:spPr>
        <a:noFill/>
        <a:ln>
          <a:noFill/>
        </a:ln>
        <a:effectLst/>
      </c:spPr>
    </c:plotArea>
    <c:legend>
      <c:legendPos val="r"/>
      <c:layout>
        <c:manualLayout>
          <c:xMode val="edge"/>
          <c:yMode val="edge"/>
          <c:x val="0.73453147611289937"/>
          <c:y val="0.27210086908828318"/>
          <c:w val="0.22214584228758749"/>
          <c:h val="0.173059905692673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bg-BG"/>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bg-BG"/>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bg-BG" sz="1440" b="1" i="0" u="none" strike="noStrike" baseline="0" dirty="0">
                <a:effectLst/>
              </a:rPr>
              <a:t>Какви биха били позитивните ефекти от въвеждането на еврото? </a:t>
            </a:r>
            <a:endParaRPr lang="bg-BG" sz="1440" b="1" u="none" dirty="0"/>
          </a:p>
        </c:rich>
      </c:tx>
      <c:layout>
        <c:manualLayout>
          <c:xMode val="edge"/>
          <c:yMode val="edge"/>
          <c:x val="0.2399229826501664"/>
          <c:y val="0"/>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3163825857437863"/>
          <c:y val="0.1565500315207479"/>
          <c:w val="0.66755200815851223"/>
          <c:h val="0.81535779316557788"/>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Не знам, не мога да преценя</c:v>
                </c:pt>
                <c:pt idx="1">
                  <c:v>Няма да има позитиви/ нищо от изброеното няма да се случи</c:v>
                </c:pt>
                <c:pt idx="2">
                  <c:v>Друго</c:v>
                </c:pt>
                <c:pt idx="3">
                  <c:v>Ще намалее рискът от фалити на банки</c:v>
                </c:pt>
                <c:pt idx="4">
                  <c:v>България ще има реално участие в процеса на вземане на решения в еврозоната</c:v>
                </c:pt>
                <c:pt idx="5">
                  <c:v>Ще се повиши самочувствието ни на граждани на ЕС</c:v>
                </c:pt>
                <c:pt idx="6">
                  <c:v>Ще осигури достъп на българските граждани и фирми до по-евтини/изгодни кредити</c:v>
                </c:pt>
                <c:pt idx="7">
                  <c:v>Ще има по-голяма сигурност и предвидимост в банковия и финансов сектор в страната</c:v>
                </c:pt>
                <c:pt idx="8">
                  <c:v>Ще се улесни търговията ни с другите европейски държави</c:v>
                </c:pt>
                <c:pt idx="9">
                  <c:v>Ще бъде по-удобно за хората при пътуване и разплащане в чужбина</c:v>
                </c:pt>
              </c:strCache>
            </c:strRef>
          </c:cat>
          <c:val>
            <c:numRef>
              <c:f>Лист1!$B$2:$B$11</c:f>
              <c:numCache>
                <c:formatCode>General</c:formatCode>
                <c:ptCount val="10"/>
                <c:pt idx="0">
                  <c:v>18.8</c:v>
                </c:pt>
                <c:pt idx="1">
                  <c:v>6.1</c:v>
                </c:pt>
                <c:pt idx="2" formatCode="0.0">
                  <c:v>2.5</c:v>
                </c:pt>
                <c:pt idx="3">
                  <c:v>15.9</c:v>
                </c:pt>
                <c:pt idx="4">
                  <c:v>17.7</c:v>
                </c:pt>
                <c:pt idx="5">
                  <c:v>19.600000000000001</c:v>
                </c:pt>
                <c:pt idx="6">
                  <c:v>20.2</c:v>
                </c:pt>
                <c:pt idx="7">
                  <c:v>21.2</c:v>
                </c:pt>
                <c:pt idx="8">
                  <c:v>37.200000000000003</c:v>
                </c:pt>
                <c:pt idx="9">
                  <c:v>58.6</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11</c:f>
              <c:strCache>
                <c:ptCount val="10"/>
                <c:pt idx="0">
                  <c:v>Не знам, не мога да преценя</c:v>
                </c:pt>
                <c:pt idx="1">
                  <c:v>Няма да има позитиви/ нищо от изброеното няма да се случи</c:v>
                </c:pt>
                <c:pt idx="2">
                  <c:v>Друго</c:v>
                </c:pt>
                <c:pt idx="3">
                  <c:v>Ще намалее рискът от фалити на банки</c:v>
                </c:pt>
                <c:pt idx="4">
                  <c:v>България ще има реално участие в процеса на вземане на решения в еврозоната</c:v>
                </c:pt>
                <c:pt idx="5">
                  <c:v>Ще се повиши самочувствието ни на граждани на ЕС</c:v>
                </c:pt>
                <c:pt idx="6">
                  <c:v>Ще осигури достъп на българските граждани и фирми до по-евтини/изгодни кредити</c:v>
                </c:pt>
                <c:pt idx="7">
                  <c:v>Ще има по-голяма сигурност и предвидимост в банковия и финансов сектор в страната</c:v>
                </c:pt>
                <c:pt idx="8">
                  <c:v>Ще се улесни търговията ни с другите европейски държави</c:v>
                </c:pt>
                <c:pt idx="9">
                  <c:v>Ще бъде по-удобно за хората при пътуване и разплащане в чужбина</c:v>
                </c:pt>
              </c:strCache>
            </c:strRef>
          </c:cat>
          <c:val>
            <c:numRef>
              <c:f>Лист1!$C$2:$C$11</c:f>
              <c:numCache>
                <c:formatCode>General</c:formatCode>
                <c:ptCount val="10"/>
                <c:pt idx="0">
                  <c:v>81.2</c:v>
                </c:pt>
                <c:pt idx="1">
                  <c:v>93.9</c:v>
                </c:pt>
                <c:pt idx="2">
                  <c:v>97.5</c:v>
                </c:pt>
                <c:pt idx="3">
                  <c:v>84.1</c:v>
                </c:pt>
                <c:pt idx="4">
                  <c:v>82.3</c:v>
                </c:pt>
                <c:pt idx="5">
                  <c:v>80.400000000000006</c:v>
                </c:pt>
                <c:pt idx="6">
                  <c:v>79.8</c:v>
                </c:pt>
                <c:pt idx="7">
                  <c:v>78.8</c:v>
                </c:pt>
                <c:pt idx="8">
                  <c:v>62.8</c:v>
                </c:pt>
                <c:pt idx="9">
                  <c:v>41.4</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Не знам, не мога да преценя</c:v>
                </c:pt>
                <c:pt idx="1">
                  <c:v>Няма да има позитиви/ нищо от изброеното няма да се случи</c:v>
                </c:pt>
                <c:pt idx="2">
                  <c:v>Друго</c:v>
                </c:pt>
                <c:pt idx="3">
                  <c:v>Ще намалее рискът от фалити на банки</c:v>
                </c:pt>
                <c:pt idx="4">
                  <c:v>България ще има реално участие в процеса на вземане на решения в еврозоната</c:v>
                </c:pt>
                <c:pt idx="5">
                  <c:v>Ще се повиши самочувствието ни на граждани на ЕС</c:v>
                </c:pt>
                <c:pt idx="6">
                  <c:v>Ще осигури достъп на българските граждани и фирми до по-евтини/изгодни кредити</c:v>
                </c:pt>
                <c:pt idx="7">
                  <c:v>Ще има по-голяма сигурност и предвидимост в банковия и финансов сектор в страната</c:v>
                </c:pt>
                <c:pt idx="8">
                  <c:v>Ще се улесни търговията ни с другите европейски държави</c:v>
                </c:pt>
                <c:pt idx="9">
                  <c:v>Ще бъде по-удобно за хората при пътуване и разплащане в чужбина</c:v>
                </c:pt>
              </c:strCache>
            </c:strRef>
          </c:cat>
          <c:val>
            <c:numRef>
              <c:f>Лист1!$D$2:$D$11</c:f>
              <c:numCache>
                <c:formatCode>General</c:formatCode>
                <c:ptCount val="10"/>
                <c:pt idx="0">
                  <c:v>5.2</c:v>
                </c:pt>
                <c:pt idx="1">
                  <c:v>6.5</c:v>
                </c:pt>
                <c:pt idx="2">
                  <c:v>1.6</c:v>
                </c:pt>
                <c:pt idx="3">
                  <c:v>34.5</c:v>
                </c:pt>
                <c:pt idx="4">
                  <c:v>38.700000000000003</c:v>
                </c:pt>
                <c:pt idx="5">
                  <c:v>35.6</c:v>
                </c:pt>
                <c:pt idx="6">
                  <c:v>42.9</c:v>
                </c:pt>
                <c:pt idx="7" formatCode="0.0">
                  <c:v>51</c:v>
                </c:pt>
                <c:pt idx="8">
                  <c:v>63.2</c:v>
                </c:pt>
                <c:pt idx="9">
                  <c:v>72.8</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11</c:f>
              <c:strCache>
                <c:ptCount val="10"/>
                <c:pt idx="0">
                  <c:v>Не знам, не мога да преценя</c:v>
                </c:pt>
                <c:pt idx="1">
                  <c:v>Няма да има позитиви/ нищо от изброеното няма да се случи</c:v>
                </c:pt>
                <c:pt idx="2">
                  <c:v>Друго</c:v>
                </c:pt>
                <c:pt idx="3">
                  <c:v>Ще намалее рискът от фалити на банки</c:v>
                </c:pt>
                <c:pt idx="4">
                  <c:v>България ще има реално участие в процеса на вземане на решения в еврозоната</c:v>
                </c:pt>
                <c:pt idx="5">
                  <c:v>Ще се повиши самочувствието ни на граждани на ЕС</c:v>
                </c:pt>
                <c:pt idx="6">
                  <c:v>Ще осигури достъп на българските граждани и фирми до по-евтини/изгодни кредити</c:v>
                </c:pt>
                <c:pt idx="7">
                  <c:v>Ще има по-голяма сигурност и предвидимост в банковия и финансов сектор в страната</c:v>
                </c:pt>
                <c:pt idx="8">
                  <c:v>Ще се улесни търговията ни с другите европейски държави</c:v>
                </c:pt>
                <c:pt idx="9">
                  <c:v>Ще бъде по-удобно за хората при пътуване и разплащане в чужбина</c:v>
                </c:pt>
              </c:strCache>
            </c:strRef>
          </c:cat>
          <c:val>
            <c:numRef>
              <c:f>Лист1!$E$2:$E$11</c:f>
              <c:numCache>
                <c:formatCode>General</c:formatCode>
                <c:ptCount val="10"/>
                <c:pt idx="0">
                  <c:v>94.8</c:v>
                </c:pt>
                <c:pt idx="1">
                  <c:v>93.5</c:v>
                </c:pt>
                <c:pt idx="2">
                  <c:v>98.4</c:v>
                </c:pt>
                <c:pt idx="3">
                  <c:v>65.5</c:v>
                </c:pt>
                <c:pt idx="4">
                  <c:v>61.3</c:v>
                </c:pt>
                <c:pt idx="5">
                  <c:v>64.400000000000006</c:v>
                </c:pt>
                <c:pt idx="6">
                  <c:v>57.1</c:v>
                </c:pt>
                <c:pt idx="7">
                  <c:v>49</c:v>
                </c:pt>
                <c:pt idx="8">
                  <c:v>36.799999999999997</c:v>
                </c:pt>
                <c:pt idx="9">
                  <c:v>27.200000000000003</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320" b="1" i="0" u="none" strike="noStrike" kern="1200" spc="0" baseline="0">
                <a:solidFill>
                  <a:schemeClr val="tx1"/>
                </a:solidFill>
                <a:latin typeface="+mn-lt"/>
                <a:ea typeface="+mn-ea"/>
                <a:cs typeface="+mn-cs"/>
              </a:defRPr>
            </a:pPr>
            <a:r>
              <a:rPr lang="bg-BG" sz="1440" b="1" i="0" u="none" strike="noStrike" baseline="0" dirty="0">
                <a:effectLst/>
              </a:rPr>
              <a:t>Какви биха били негативните ефекти от въвеждането на еврото? </a:t>
            </a:r>
            <a:endParaRPr lang="bg-BG" sz="1440" b="1" u="none" dirty="0"/>
          </a:p>
        </c:rich>
      </c:tx>
      <c:layout>
        <c:manualLayout>
          <c:xMode val="edge"/>
          <c:yMode val="edge"/>
          <c:x val="0.30619353029881541"/>
          <c:y val="5.1076682388498497E-3"/>
        </c:manualLayout>
      </c:layout>
      <c:overlay val="0"/>
      <c:spPr>
        <a:noFill/>
        <a:ln>
          <a:noFill/>
        </a:ln>
        <a:effectLst/>
      </c:spPr>
      <c:txPr>
        <a:bodyPr rot="0" spcFirstLastPara="1" vertOverflow="ellipsis" vert="horz" wrap="square" anchor="ctr" anchorCtr="1"/>
        <a:lstStyle/>
        <a:p>
          <a:pPr algn="ctr">
            <a:defRPr sz="132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3163825857437863"/>
          <c:y val="0.1565500315207479"/>
          <c:w val="0.66755200815851223"/>
          <c:h val="0.81535779316557788"/>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Не знам, не мога да преценя</c:v>
                </c:pt>
                <c:pt idx="1">
                  <c:v>Няма да има негативи</c:v>
                </c:pt>
                <c:pt idx="2">
                  <c:v>Друго</c:v>
                </c:pt>
                <c:pt idx="3">
                  <c:v>Българските стоки ще станат по-неконкурентноспособни</c:v>
                </c:pt>
                <c:pt idx="4">
                  <c:v>България ще загуби суверенитета си/финансовата си независимост</c:v>
                </c:pt>
                <c:pt idx="5">
                  <c:v>Ще е трудно за хората да се ориентират в новите парични средства</c:v>
                </c:pt>
                <c:pt idx="6">
                  <c:v>Ще се увеличи инфлацията</c:v>
                </c:pt>
                <c:pt idx="7">
                  <c:v>Ще има риск от измами/изкуствено повишаване на цените от страна на некоректни търговци</c:v>
                </c:pt>
                <c:pt idx="8">
                  <c:v>Ще се повишат цените на стоките</c:v>
                </c:pt>
              </c:strCache>
            </c:strRef>
          </c:cat>
          <c:val>
            <c:numRef>
              <c:f>Лист1!$B$2:$B$10</c:f>
              <c:numCache>
                <c:formatCode>0.0</c:formatCode>
                <c:ptCount val="9"/>
                <c:pt idx="0" formatCode="General">
                  <c:v>5.5</c:v>
                </c:pt>
                <c:pt idx="1">
                  <c:v>1.5</c:v>
                </c:pt>
                <c:pt idx="2" formatCode="General">
                  <c:v>0.6</c:v>
                </c:pt>
                <c:pt idx="3" formatCode="General">
                  <c:v>27.2</c:v>
                </c:pt>
                <c:pt idx="4" formatCode="General">
                  <c:v>31.5</c:v>
                </c:pt>
                <c:pt idx="5" formatCode="General">
                  <c:v>42.1</c:v>
                </c:pt>
                <c:pt idx="6" formatCode="General">
                  <c:v>54.7</c:v>
                </c:pt>
                <c:pt idx="7" formatCode="General">
                  <c:v>56.8</c:v>
                </c:pt>
                <c:pt idx="8" formatCode="General">
                  <c:v>68.7</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10</c:f>
              <c:strCache>
                <c:ptCount val="9"/>
                <c:pt idx="0">
                  <c:v>Не знам, не мога да преценя</c:v>
                </c:pt>
                <c:pt idx="1">
                  <c:v>Няма да има негативи</c:v>
                </c:pt>
                <c:pt idx="2">
                  <c:v>Друго</c:v>
                </c:pt>
                <c:pt idx="3">
                  <c:v>Българските стоки ще станат по-неконкурентноспособни</c:v>
                </c:pt>
                <c:pt idx="4">
                  <c:v>България ще загуби суверенитета си/финансовата си независимост</c:v>
                </c:pt>
                <c:pt idx="5">
                  <c:v>Ще е трудно за хората да се ориентират в новите парични средства</c:v>
                </c:pt>
                <c:pt idx="6">
                  <c:v>Ще се увеличи инфлацията</c:v>
                </c:pt>
                <c:pt idx="7">
                  <c:v>Ще има риск от измами/изкуствено повишаване на цените от страна на некоректни търговци</c:v>
                </c:pt>
                <c:pt idx="8">
                  <c:v>Ще се повишат цените на стоките</c:v>
                </c:pt>
              </c:strCache>
            </c:strRef>
          </c:cat>
          <c:val>
            <c:numRef>
              <c:f>Лист1!$C$2:$C$10</c:f>
              <c:numCache>
                <c:formatCode>General</c:formatCode>
                <c:ptCount val="9"/>
                <c:pt idx="0">
                  <c:v>94.5</c:v>
                </c:pt>
                <c:pt idx="1">
                  <c:v>98.5</c:v>
                </c:pt>
                <c:pt idx="2">
                  <c:v>99.4</c:v>
                </c:pt>
                <c:pt idx="3">
                  <c:v>72.8</c:v>
                </c:pt>
                <c:pt idx="4">
                  <c:v>68.5</c:v>
                </c:pt>
                <c:pt idx="5">
                  <c:v>57.9</c:v>
                </c:pt>
                <c:pt idx="6">
                  <c:v>45.3</c:v>
                </c:pt>
                <c:pt idx="7">
                  <c:v>43.2</c:v>
                </c:pt>
                <c:pt idx="8">
                  <c:v>31.299999999999997</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Не знам, не мога да преценя</c:v>
                </c:pt>
                <c:pt idx="1">
                  <c:v>Няма да има негативи</c:v>
                </c:pt>
                <c:pt idx="2">
                  <c:v>Друго</c:v>
                </c:pt>
                <c:pt idx="3">
                  <c:v>Българските стоки ще станат по-неконкурентноспособни</c:v>
                </c:pt>
                <c:pt idx="4">
                  <c:v>България ще загуби суверенитета си/финансовата си независимост</c:v>
                </c:pt>
                <c:pt idx="5">
                  <c:v>Ще е трудно за хората да се ориентират в новите парични средства</c:v>
                </c:pt>
                <c:pt idx="6">
                  <c:v>Ще се увеличи инфлацията</c:v>
                </c:pt>
                <c:pt idx="7">
                  <c:v>Ще има риск от измами/изкуствено повишаване на цените от страна на некоректни търговци</c:v>
                </c:pt>
                <c:pt idx="8">
                  <c:v>Ще се повишат цените на стоките</c:v>
                </c:pt>
              </c:strCache>
            </c:strRef>
          </c:cat>
          <c:val>
            <c:numRef>
              <c:f>Лист1!$D$2:$D$10</c:f>
              <c:numCache>
                <c:formatCode>General</c:formatCode>
                <c:ptCount val="9"/>
                <c:pt idx="0">
                  <c:v>10.3</c:v>
                </c:pt>
                <c:pt idx="1">
                  <c:v>7.7</c:v>
                </c:pt>
                <c:pt idx="2">
                  <c:v>1.9</c:v>
                </c:pt>
                <c:pt idx="3">
                  <c:v>28</c:v>
                </c:pt>
                <c:pt idx="4">
                  <c:v>35.200000000000003</c:v>
                </c:pt>
                <c:pt idx="5">
                  <c:v>32.6</c:v>
                </c:pt>
                <c:pt idx="6" formatCode="0.0">
                  <c:v>40.200000000000003</c:v>
                </c:pt>
                <c:pt idx="7">
                  <c:v>58.2</c:v>
                </c:pt>
                <c:pt idx="8">
                  <c:v>51.3</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10</c:f>
              <c:strCache>
                <c:ptCount val="9"/>
                <c:pt idx="0">
                  <c:v>Не знам, не мога да преценя</c:v>
                </c:pt>
                <c:pt idx="1">
                  <c:v>Няма да има негативи</c:v>
                </c:pt>
                <c:pt idx="2">
                  <c:v>Друго</c:v>
                </c:pt>
                <c:pt idx="3">
                  <c:v>Българските стоки ще станат по-неконкурентноспособни</c:v>
                </c:pt>
                <c:pt idx="4">
                  <c:v>България ще загуби суверенитета си/финансовата си независимост</c:v>
                </c:pt>
                <c:pt idx="5">
                  <c:v>Ще е трудно за хората да се ориентират в новите парични средства</c:v>
                </c:pt>
                <c:pt idx="6">
                  <c:v>Ще се увеличи инфлацията</c:v>
                </c:pt>
                <c:pt idx="7">
                  <c:v>Ще има риск от измами/изкуствено повишаване на цените от страна на некоректни търговци</c:v>
                </c:pt>
                <c:pt idx="8">
                  <c:v>Ще се повишат цените на стоките</c:v>
                </c:pt>
              </c:strCache>
            </c:strRef>
          </c:cat>
          <c:val>
            <c:numRef>
              <c:f>Лист1!$E$2:$E$10</c:f>
              <c:numCache>
                <c:formatCode>General</c:formatCode>
                <c:ptCount val="9"/>
                <c:pt idx="0">
                  <c:v>89.7</c:v>
                </c:pt>
                <c:pt idx="1">
                  <c:v>92.3</c:v>
                </c:pt>
                <c:pt idx="2">
                  <c:v>98.1</c:v>
                </c:pt>
                <c:pt idx="3">
                  <c:v>72</c:v>
                </c:pt>
                <c:pt idx="4">
                  <c:v>64.8</c:v>
                </c:pt>
                <c:pt idx="5">
                  <c:v>67.400000000000006</c:v>
                </c:pt>
                <c:pt idx="6">
                  <c:v>59.8</c:v>
                </c:pt>
                <c:pt idx="7">
                  <c:v>41.8</c:v>
                </c:pt>
                <c:pt idx="8">
                  <c:v>48.7</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bg-BG" sz="1440" b="1" i="0" u="none" strike="noStrike" baseline="0" dirty="0">
                <a:effectLst/>
              </a:rPr>
              <a:t>Ако посочените негативни ефекти бъдат овладени, или предотвратени, бихте ли подкрепили въвеждането на еврото</a:t>
            </a:r>
            <a:r>
              <a:rPr lang="bg-BG" sz="1440" b="1" i="1" u="none" strike="noStrike" baseline="0" dirty="0">
                <a:effectLst/>
              </a:rPr>
              <a:t>?</a:t>
            </a:r>
            <a:endParaRPr lang="bg-BG" sz="1440" b="1" u="none" dirty="0"/>
          </a:p>
        </c:rich>
      </c:tx>
      <c:layout>
        <c:manualLayout>
          <c:xMode val="edge"/>
          <c:yMode val="edge"/>
          <c:x val="0.24035457512750838"/>
          <c:y val="0"/>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endParaRPr lang="bg-BG"/>
        </a:p>
      </c:txPr>
    </c:title>
    <c:autoTitleDeleted val="0"/>
    <c:plotArea>
      <c:layout>
        <c:manualLayout>
          <c:layoutTarget val="inner"/>
          <c:xMode val="edge"/>
          <c:yMode val="edge"/>
          <c:x val="0.3163825857437863"/>
          <c:y val="0.1565500315207479"/>
          <c:w val="0.66755200815851223"/>
          <c:h val="0.81535779316557788"/>
        </c:manualLayout>
      </c:layout>
      <c:barChart>
        <c:barDir val="bar"/>
        <c:grouping val="percentStacked"/>
        <c:varyColors val="0"/>
        <c:ser>
          <c:idx val="0"/>
          <c:order val="0"/>
          <c:tx>
            <c:strRef>
              <c:f>Лист1!$B$1</c:f>
              <c:strCache>
                <c:ptCount val="1"/>
                <c:pt idx="0">
                  <c:v>Граждани</c:v>
                </c:pt>
              </c:strCache>
            </c:strRef>
          </c:tx>
          <c:spPr>
            <a:solidFill>
              <a:srgbClr val="69A12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Не, не бих подкрепил/а</c:v>
                </c:pt>
                <c:pt idx="1">
                  <c:v>Ако се предотвратят и овладеят бързо, бих подкрепил/а въвеждането на еврото</c:v>
                </c:pt>
                <c:pt idx="2">
                  <c:v>И в момента подкрепям въвеждането на еврото, смятам, че тези негативни ефекти са преодолими и краткосрочни</c:v>
                </c:pt>
              </c:strCache>
            </c:strRef>
          </c:cat>
          <c:val>
            <c:numRef>
              <c:f>Лист1!$B$2:$B$4</c:f>
              <c:numCache>
                <c:formatCode>General</c:formatCode>
                <c:ptCount val="3"/>
                <c:pt idx="0">
                  <c:v>40.9</c:v>
                </c:pt>
                <c:pt idx="1">
                  <c:v>27.8</c:v>
                </c:pt>
                <c:pt idx="2">
                  <c:v>31.3</c:v>
                </c:pt>
              </c:numCache>
            </c:numRef>
          </c:val>
          <c:extLst>
            <c:ext xmlns:c16="http://schemas.microsoft.com/office/drawing/2014/chart" uri="{C3380CC4-5D6E-409C-BE32-E72D297353CC}">
              <c16:uniqueId val="{00000000-00EC-4C46-9A86-ADDD77DE041F}"/>
            </c:ext>
          </c:extLst>
        </c:ser>
        <c:ser>
          <c:idx val="1"/>
          <c:order val="1"/>
          <c:tx>
            <c:strRef>
              <c:f>Лист1!$C$1</c:f>
              <c:strCache>
                <c:ptCount val="1"/>
                <c:pt idx="0">
                  <c:v>Серия 2</c:v>
                </c:pt>
              </c:strCache>
            </c:strRef>
          </c:tx>
          <c:spPr>
            <a:noFill/>
            <a:ln>
              <a:noFill/>
            </a:ln>
            <a:effectLst/>
          </c:spPr>
          <c:invertIfNegative val="0"/>
          <c:cat>
            <c:strRef>
              <c:f>Лист1!$A$2:$A$4</c:f>
              <c:strCache>
                <c:ptCount val="3"/>
                <c:pt idx="0">
                  <c:v>Не, не бих подкрепил/а</c:v>
                </c:pt>
                <c:pt idx="1">
                  <c:v>Ако се предотвратят и овладеят бързо, бих подкрепил/а въвеждането на еврото</c:v>
                </c:pt>
                <c:pt idx="2">
                  <c:v>И в момента подкрепям въвеждането на еврото, смятам, че тези негативни ефекти са преодолими и краткосрочни</c:v>
                </c:pt>
              </c:strCache>
            </c:strRef>
          </c:cat>
          <c:val>
            <c:numRef>
              <c:f>Лист1!$C$2:$C$4</c:f>
              <c:numCache>
                <c:formatCode>General</c:formatCode>
                <c:ptCount val="3"/>
                <c:pt idx="0">
                  <c:v>59.1</c:v>
                </c:pt>
                <c:pt idx="1">
                  <c:v>72.2</c:v>
                </c:pt>
                <c:pt idx="2">
                  <c:v>68.7</c:v>
                </c:pt>
              </c:numCache>
            </c:numRef>
          </c:val>
          <c:extLst>
            <c:ext xmlns:c16="http://schemas.microsoft.com/office/drawing/2014/chart" uri="{C3380CC4-5D6E-409C-BE32-E72D297353CC}">
              <c16:uniqueId val="{00000001-00EC-4C46-9A86-ADDD77DE041F}"/>
            </c:ext>
          </c:extLst>
        </c:ser>
        <c:ser>
          <c:idx val="2"/>
          <c:order val="2"/>
          <c:tx>
            <c:strRef>
              <c:f>Лист1!$D$1</c:f>
              <c:strCache>
                <c:ptCount val="1"/>
                <c:pt idx="0">
                  <c:v>Бизнес</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bg-BG"/>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Не, не бих подкрепил/а</c:v>
                </c:pt>
                <c:pt idx="1">
                  <c:v>Ако се предотвратят и овладеят бързо, бих подкрепил/а въвеждането на еврото</c:v>
                </c:pt>
                <c:pt idx="2">
                  <c:v>И в момента подкрепям въвеждането на еврото, смятам, че тези негативни ефекти са преодолими и краткосрочни</c:v>
                </c:pt>
              </c:strCache>
            </c:strRef>
          </c:cat>
          <c:val>
            <c:numRef>
              <c:f>Лист1!$D$2:$D$4</c:f>
              <c:numCache>
                <c:formatCode>General</c:formatCode>
                <c:ptCount val="3"/>
                <c:pt idx="0" formatCode="0.0">
                  <c:v>25.3</c:v>
                </c:pt>
                <c:pt idx="1">
                  <c:v>23.4</c:v>
                </c:pt>
                <c:pt idx="2">
                  <c:v>51.3</c:v>
                </c:pt>
              </c:numCache>
            </c:numRef>
          </c:val>
          <c:extLst>
            <c:ext xmlns:c16="http://schemas.microsoft.com/office/drawing/2014/chart" uri="{C3380CC4-5D6E-409C-BE32-E72D297353CC}">
              <c16:uniqueId val="{00000002-00EC-4C46-9A86-ADDD77DE041F}"/>
            </c:ext>
          </c:extLst>
        </c:ser>
        <c:ser>
          <c:idx val="3"/>
          <c:order val="3"/>
          <c:tx>
            <c:strRef>
              <c:f>Лист1!$E$1</c:f>
              <c:strCache>
                <c:ptCount val="1"/>
                <c:pt idx="0">
                  <c:v>Серия 4</c:v>
                </c:pt>
              </c:strCache>
            </c:strRef>
          </c:tx>
          <c:spPr>
            <a:noFill/>
            <a:ln>
              <a:noFill/>
            </a:ln>
            <a:effectLst/>
          </c:spPr>
          <c:invertIfNegative val="0"/>
          <c:cat>
            <c:strRef>
              <c:f>Лист1!$A$2:$A$4</c:f>
              <c:strCache>
                <c:ptCount val="3"/>
                <c:pt idx="0">
                  <c:v>Не, не бих подкрепил/а</c:v>
                </c:pt>
                <c:pt idx="1">
                  <c:v>Ако се предотвратят и овладеят бързо, бих подкрепил/а въвеждането на еврото</c:v>
                </c:pt>
                <c:pt idx="2">
                  <c:v>И в момента подкрепям въвеждането на еврото, смятам, че тези негативни ефекти са преодолими и краткосрочни</c:v>
                </c:pt>
              </c:strCache>
            </c:strRef>
          </c:cat>
          <c:val>
            <c:numRef>
              <c:f>Лист1!$E$2:$E$4</c:f>
              <c:numCache>
                <c:formatCode>General</c:formatCode>
                <c:ptCount val="3"/>
                <c:pt idx="0">
                  <c:v>74.7</c:v>
                </c:pt>
                <c:pt idx="1">
                  <c:v>76.599999999999994</c:v>
                </c:pt>
                <c:pt idx="2">
                  <c:v>48.7</c:v>
                </c:pt>
              </c:numCache>
            </c:numRef>
          </c:val>
          <c:extLst>
            <c:ext xmlns:c16="http://schemas.microsoft.com/office/drawing/2014/chart" uri="{C3380CC4-5D6E-409C-BE32-E72D297353CC}">
              <c16:uniqueId val="{00000003-00EC-4C46-9A86-ADDD77DE041F}"/>
            </c:ext>
          </c:extLst>
        </c:ser>
        <c:dLbls>
          <c:showLegendKey val="0"/>
          <c:showVal val="0"/>
          <c:showCatName val="0"/>
          <c:showSerName val="0"/>
          <c:showPercent val="0"/>
          <c:showBubbleSize val="0"/>
        </c:dLbls>
        <c:gapWidth val="70"/>
        <c:overlap val="100"/>
        <c:axId val="390861664"/>
        <c:axId val="390862912"/>
      </c:barChart>
      <c:catAx>
        <c:axId val="390861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bg-BG"/>
          </a:p>
        </c:txPr>
        <c:crossAx val="390862912"/>
        <c:crosses val="autoZero"/>
        <c:auto val="1"/>
        <c:lblAlgn val="ctr"/>
        <c:lblOffset val="100"/>
        <c:noMultiLvlLbl val="0"/>
      </c:catAx>
      <c:valAx>
        <c:axId val="390862912"/>
        <c:scaling>
          <c:orientation val="minMax"/>
        </c:scaling>
        <c:delete val="1"/>
        <c:axPos val="b"/>
        <c:numFmt formatCode="0%" sourceLinked="1"/>
        <c:majorTickMark val="none"/>
        <c:minorTickMark val="none"/>
        <c:tickLblPos val="nextTo"/>
        <c:crossAx val="390861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bg-BG"/>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1259</cdr:x>
      <cdr:y>0.2047</cdr:y>
    </cdr:from>
    <cdr:to>
      <cdr:x>0.84134</cdr:x>
      <cdr:y>0.76454</cdr:y>
    </cdr:to>
    <cdr:sp macro="" textlink="">
      <cdr:nvSpPr>
        <cdr:cNvPr id="3" name="Дясна фигурна скоба 2">
          <a:extLst xmlns:a="http://schemas.openxmlformats.org/drawingml/2006/main">
            <a:ext uri="{FF2B5EF4-FFF2-40B4-BE49-F238E27FC236}">
              <a16:creationId xmlns:a16="http://schemas.microsoft.com/office/drawing/2014/main" id="{83516255-6F6A-2EAE-F64D-D95181EFD85F}"/>
            </a:ext>
          </a:extLst>
        </cdr:cNvPr>
        <cdr:cNvSpPr/>
      </cdr:nvSpPr>
      <cdr:spPr>
        <a:xfrm xmlns:a="http://schemas.openxmlformats.org/drawingml/2006/main">
          <a:off x="7066032" y="1017942"/>
          <a:ext cx="250033" cy="2784047"/>
        </a:xfrm>
        <a:prstGeom xmlns:a="http://schemas.openxmlformats.org/drawingml/2006/main" prst="rightBrac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bg-BG"/>
        </a:p>
      </cdr:txBody>
    </cdr:sp>
  </cdr:relSizeAnchor>
  <cdr:relSizeAnchor xmlns:cdr="http://schemas.openxmlformats.org/drawingml/2006/chartDrawing">
    <cdr:from>
      <cdr:x>0.43402</cdr:x>
      <cdr:y>0.20613</cdr:y>
    </cdr:from>
    <cdr:to>
      <cdr:x>0.46277</cdr:x>
      <cdr:y>0.76597</cdr:y>
    </cdr:to>
    <cdr:sp macro="" textlink="">
      <cdr:nvSpPr>
        <cdr:cNvPr id="4" name="Дясна фигурна скоба 3">
          <a:extLst xmlns:a="http://schemas.openxmlformats.org/drawingml/2006/main">
            <a:ext uri="{FF2B5EF4-FFF2-40B4-BE49-F238E27FC236}">
              <a16:creationId xmlns:a16="http://schemas.microsoft.com/office/drawing/2014/main" id="{578C99D0-9087-AD7D-D498-E4B1C60FB0F3}"/>
            </a:ext>
          </a:extLst>
        </cdr:cNvPr>
        <cdr:cNvSpPr/>
      </cdr:nvSpPr>
      <cdr:spPr>
        <a:xfrm xmlns:a="http://schemas.openxmlformats.org/drawingml/2006/main">
          <a:off x="3774103" y="1025055"/>
          <a:ext cx="250033" cy="2784047"/>
        </a:xfrm>
        <a:prstGeom xmlns:a="http://schemas.openxmlformats.org/drawingml/2006/main" prst="rightBrac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bg-BG"/>
        </a:p>
      </cdr:txBody>
    </cdr:sp>
  </cdr:relSizeAnchor>
  <cdr:relSizeAnchor xmlns:cdr="http://schemas.openxmlformats.org/drawingml/2006/chartDrawing">
    <cdr:from>
      <cdr:x>0.47842</cdr:x>
      <cdr:y>0.42214</cdr:y>
    </cdr:from>
    <cdr:to>
      <cdr:x>0.60455</cdr:x>
      <cdr:y>0.60601</cdr:y>
    </cdr:to>
    <cdr:sp macro="" textlink="">
      <cdr:nvSpPr>
        <cdr:cNvPr id="6" name="Текстово поле 5">
          <a:extLst xmlns:a="http://schemas.openxmlformats.org/drawingml/2006/main">
            <a:ext uri="{FF2B5EF4-FFF2-40B4-BE49-F238E27FC236}">
              <a16:creationId xmlns:a16="http://schemas.microsoft.com/office/drawing/2014/main" id="{71E9CC9B-8980-17F7-C9DB-4D0A9DADAA48}"/>
            </a:ext>
          </a:extLst>
        </cdr:cNvPr>
        <cdr:cNvSpPr txBox="1"/>
      </cdr:nvSpPr>
      <cdr:spPr>
        <a:xfrm xmlns:a="http://schemas.openxmlformats.org/drawingml/2006/main">
          <a:off x="4160221" y="2099256"/>
          <a:ext cx="1096786"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bg-BG" sz="1100" b="1" dirty="0"/>
        </a:p>
      </cdr:txBody>
    </cdr:sp>
  </cdr:relSizeAnchor>
  <cdr:relSizeAnchor xmlns:cdr="http://schemas.openxmlformats.org/drawingml/2006/chartDrawing">
    <cdr:from>
      <cdr:x>0.4651</cdr:x>
      <cdr:y>0.45561</cdr:y>
    </cdr:from>
    <cdr:to>
      <cdr:x>0.57026</cdr:x>
      <cdr:y>0.63949</cdr:y>
    </cdr:to>
    <cdr:sp macro="" textlink="">
      <cdr:nvSpPr>
        <cdr:cNvPr id="7" name="Текстово поле 6">
          <a:extLst xmlns:a="http://schemas.openxmlformats.org/drawingml/2006/main">
            <a:ext uri="{FF2B5EF4-FFF2-40B4-BE49-F238E27FC236}">
              <a16:creationId xmlns:a16="http://schemas.microsoft.com/office/drawing/2014/main" id="{2260FDC4-8DF9-FEFE-91D9-B5D465FB8F70}"/>
            </a:ext>
          </a:extLst>
        </cdr:cNvPr>
        <cdr:cNvSpPr txBox="1"/>
      </cdr:nvSpPr>
      <cdr:spPr>
        <a:xfrm xmlns:a="http://schemas.openxmlformats.org/drawingml/2006/main">
          <a:off x="4044390" y="2265729"/>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bg-BG" sz="1400" b="1" dirty="0"/>
            <a:t>Пътували – 77</a:t>
          </a:r>
          <a:r>
            <a:rPr lang="bg-BG" b="1" dirty="0"/>
            <a:t>%</a:t>
          </a:r>
          <a:endParaRPr lang="bg-BG" sz="1100" b="1" dirty="0"/>
        </a:p>
      </cdr:txBody>
    </cdr:sp>
  </cdr:relSizeAnchor>
  <cdr:relSizeAnchor xmlns:cdr="http://schemas.openxmlformats.org/drawingml/2006/chartDrawing">
    <cdr:from>
      <cdr:x>0.88974</cdr:x>
      <cdr:y>0.43457</cdr:y>
    </cdr:from>
    <cdr:to>
      <cdr:x>0.9949</cdr:x>
      <cdr:y>0.61844</cdr:y>
    </cdr:to>
    <cdr:sp macro="" textlink="">
      <cdr:nvSpPr>
        <cdr:cNvPr id="10" name="Текстово поле 9">
          <a:extLst xmlns:a="http://schemas.openxmlformats.org/drawingml/2006/main">
            <a:ext uri="{FF2B5EF4-FFF2-40B4-BE49-F238E27FC236}">
              <a16:creationId xmlns:a16="http://schemas.microsoft.com/office/drawing/2014/main" id="{87ED4677-C96A-9134-4529-1E40263F7151}"/>
            </a:ext>
          </a:extLst>
        </cdr:cNvPr>
        <cdr:cNvSpPr txBox="1"/>
      </cdr:nvSpPr>
      <cdr:spPr>
        <a:xfrm xmlns:a="http://schemas.openxmlformats.org/drawingml/2006/main">
          <a:off x="7736949" y="216107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bg-BG" sz="1100" dirty="0"/>
        </a:p>
      </cdr:txBody>
    </cdr:sp>
  </cdr:relSizeAnchor>
  <cdr:relSizeAnchor xmlns:cdr="http://schemas.openxmlformats.org/drawingml/2006/chartDrawing">
    <cdr:from>
      <cdr:x>0.84873</cdr:x>
      <cdr:y>0.4487</cdr:y>
    </cdr:from>
    <cdr:to>
      <cdr:x>0.9681</cdr:x>
      <cdr:y>0.68055</cdr:y>
    </cdr:to>
    <cdr:sp macro="" textlink="">
      <cdr:nvSpPr>
        <cdr:cNvPr id="11" name="Текстово поле 10">
          <a:extLst xmlns:a="http://schemas.openxmlformats.org/drawingml/2006/main">
            <a:ext uri="{FF2B5EF4-FFF2-40B4-BE49-F238E27FC236}">
              <a16:creationId xmlns:a16="http://schemas.microsoft.com/office/drawing/2014/main" id="{C5F31683-E7C3-628E-8D33-090BDA577C90}"/>
            </a:ext>
          </a:extLst>
        </cdr:cNvPr>
        <cdr:cNvSpPr txBox="1"/>
      </cdr:nvSpPr>
      <cdr:spPr>
        <a:xfrm xmlns:a="http://schemas.openxmlformats.org/drawingml/2006/main">
          <a:off x="7380277" y="2231337"/>
          <a:ext cx="1038052" cy="115298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bg-BG" sz="1100" dirty="0"/>
        </a:p>
      </cdr:txBody>
    </cdr:sp>
  </cdr:relSizeAnchor>
  <cdr:relSizeAnchor xmlns:cdr="http://schemas.openxmlformats.org/drawingml/2006/chartDrawing">
    <cdr:from>
      <cdr:x>0.86022</cdr:x>
      <cdr:y>0.50978</cdr:y>
    </cdr:from>
    <cdr:to>
      <cdr:x>0.96537</cdr:x>
      <cdr:y>0.69366</cdr:y>
    </cdr:to>
    <cdr:sp macro="" textlink="">
      <cdr:nvSpPr>
        <cdr:cNvPr id="12" name="Текстово поле 11">
          <a:extLst xmlns:a="http://schemas.openxmlformats.org/drawingml/2006/main">
            <a:ext uri="{FF2B5EF4-FFF2-40B4-BE49-F238E27FC236}">
              <a16:creationId xmlns:a16="http://schemas.microsoft.com/office/drawing/2014/main" id="{B95A6906-AB4D-5E33-DB30-C44D06FD1981}"/>
            </a:ext>
          </a:extLst>
        </cdr:cNvPr>
        <cdr:cNvSpPr txBox="1"/>
      </cdr:nvSpPr>
      <cdr:spPr>
        <a:xfrm xmlns:a="http://schemas.openxmlformats.org/drawingml/2006/main">
          <a:off x="7480178" y="2535117"/>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bg-BG" sz="1100" dirty="0"/>
        </a:p>
      </cdr:txBody>
    </cdr:sp>
  </cdr:relSizeAnchor>
  <cdr:relSizeAnchor xmlns:cdr="http://schemas.openxmlformats.org/drawingml/2006/chartDrawing">
    <cdr:from>
      <cdr:x>0.85566</cdr:x>
      <cdr:y>0.45781</cdr:y>
    </cdr:from>
    <cdr:to>
      <cdr:x>0.96082</cdr:x>
      <cdr:y>0.64169</cdr:y>
    </cdr:to>
    <cdr:sp macro="" textlink="">
      <cdr:nvSpPr>
        <cdr:cNvPr id="13" name="Текстово поле 12">
          <a:extLst xmlns:a="http://schemas.openxmlformats.org/drawingml/2006/main">
            <a:ext uri="{FF2B5EF4-FFF2-40B4-BE49-F238E27FC236}">
              <a16:creationId xmlns:a16="http://schemas.microsoft.com/office/drawing/2014/main" id="{44B5A244-3E0C-8E39-5E7E-F1C091E05D5B}"/>
            </a:ext>
          </a:extLst>
        </cdr:cNvPr>
        <cdr:cNvSpPr txBox="1"/>
      </cdr:nvSpPr>
      <cdr:spPr>
        <a:xfrm xmlns:a="http://schemas.openxmlformats.org/drawingml/2006/main">
          <a:off x="7440578" y="2276668"/>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bg-BG" sz="1400" b="1" dirty="0"/>
            <a:t>Пътували – 97%</a:t>
          </a:r>
        </a:p>
      </cdr:txBody>
    </cdr:sp>
  </cdr:relSizeAnchor>
</c:userShapes>
</file>

<file path=ppt/drawings/drawing2.xml><?xml version="1.0" encoding="utf-8"?>
<c:userShapes xmlns:c="http://schemas.openxmlformats.org/drawingml/2006/chart">
  <cdr:relSizeAnchor xmlns:cdr="http://schemas.openxmlformats.org/drawingml/2006/chartDrawing">
    <cdr:from>
      <cdr:x>0.91083</cdr:x>
      <cdr:y>0.23797</cdr:y>
    </cdr:from>
    <cdr:to>
      <cdr:x>0.94539</cdr:x>
      <cdr:y>0.73415</cdr:y>
    </cdr:to>
    <cdr:sp macro="" textlink="">
      <cdr:nvSpPr>
        <cdr:cNvPr id="5" name="Right Brace 4">
          <a:extLst xmlns:a="http://schemas.openxmlformats.org/drawingml/2006/main">
            <a:ext uri="{FF2B5EF4-FFF2-40B4-BE49-F238E27FC236}">
              <a16:creationId xmlns:a16="http://schemas.microsoft.com/office/drawing/2014/main" id="{D56DD925-8BEA-5BDE-83E0-0841DF0660AD}"/>
            </a:ext>
          </a:extLst>
        </cdr:cNvPr>
        <cdr:cNvSpPr/>
      </cdr:nvSpPr>
      <cdr:spPr>
        <a:xfrm xmlns:a="http://schemas.openxmlformats.org/drawingml/2006/main">
          <a:off x="7651888" y="1057820"/>
          <a:ext cx="290340" cy="2205653"/>
        </a:xfrm>
        <a:prstGeom xmlns:a="http://schemas.openxmlformats.org/drawingml/2006/main" prst="rightBrac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txBody>
        <a:bodyPr xmlns:a="http://schemas.openxmlformats.org/drawingml/2006/main"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bg-BG"/>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Контейнер за горния колонтитул 1">
            <a:extLst>
              <a:ext uri="{FF2B5EF4-FFF2-40B4-BE49-F238E27FC236}">
                <a16:creationId xmlns:a16="http://schemas.microsoft.com/office/drawing/2014/main" id="{47163E14-7A91-4381-995D-E340FD47AA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Контейнер за дата 2">
            <a:extLst>
              <a:ext uri="{FF2B5EF4-FFF2-40B4-BE49-F238E27FC236}">
                <a16:creationId xmlns:a16="http://schemas.microsoft.com/office/drawing/2014/main" id="{342DFA0C-68BD-49C7-A132-9C21798C52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12BA61-40F8-469D-A3A3-2F8838FF4C3E}" type="datetimeFigureOut">
              <a:rPr lang="en-US" smtClean="0"/>
              <a:t>12/8/2022</a:t>
            </a:fld>
            <a:endParaRPr lang="en-US"/>
          </a:p>
        </p:txBody>
      </p:sp>
      <p:sp>
        <p:nvSpPr>
          <p:cNvPr id="4" name="Контейнер за долния колонтитул 3">
            <a:extLst>
              <a:ext uri="{FF2B5EF4-FFF2-40B4-BE49-F238E27FC236}">
                <a16:creationId xmlns:a16="http://schemas.microsoft.com/office/drawing/2014/main" id="{0221CAEE-79D2-4A2C-92E2-79862C4CC4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Контейнер за номер на слайда 4">
            <a:extLst>
              <a:ext uri="{FF2B5EF4-FFF2-40B4-BE49-F238E27FC236}">
                <a16:creationId xmlns:a16="http://schemas.microsoft.com/office/drawing/2014/main" id="{59D16CD1-D1C6-4DD2-9A26-BA606D2911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AD20D70-CCEE-4B8F-AB33-517658D8A127}" type="slidenum">
              <a:rPr lang="en-US" smtClean="0"/>
              <a:t>‹#›</a:t>
            </a:fld>
            <a:endParaRPr lang="en-US"/>
          </a:p>
        </p:txBody>
      </p:sp>
    </p:spTree>
    <p:extLst>
      <p:ext uri="{BB962C8B-B14F-4D97-AF65-F5344CB8AC3E}">
        <p14:creationId xmlns:p14="http://schemas.microsoft.com/office/powerpoint/2010/main" val="42245152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9E755B-7940-41B8-99E4-5EBFD8256AC4}" type="datetimeFigureOut">
              <a:rPr lang="bg-BG" smtClean="0"/>
              <a:t>8.12.2022 г.</a:t>
            </a:fld>
            <a:endParaRPr lang="bg-BG"/>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56DCCDF-6AD8-4911-8F79-789C0C92F8B2}" type="slidenum">
              <a:rPr lang="bg-BG" smtClean="0"/>
              <a:t>‹#›</a:t>
            </a:fld>
            <a:endParaRPr lang="bg-BG"/>
          </a:p>
        </p:txBody>
      </p:sp>
    </p:spTree>
    <p:extLst>
      <p:ext uri="{BB962C8B-B14F-4D97-AF65-F5344CB8AC3E}">
        <p14:creationId xmlns:p14="http://schemas.microsoft.com/office/powerpoint/2010/main" val="3799256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057525" y="4562475"/>
            <a:ext cx="7467600" cy="1228725"/>
          </a:xfrm>
          <a:prstGeom prst="rect">
            <a:avLst/>
          </a:prstGeom>
        </p:spPr>
        <p:txBody>
          <a:bodyPr/>
          <a:lstStyle>
            <a:lvl1pPr marL="0" indent="0" algn="ctr">
              <a:buNone/>
              <a:defRPr sz="3600" b="0">
                <a:solidFill>
                  <a:schemeClr val="bg1">
                    <a:lumMod val="50000"/>
                  </a:schemeClr>
                </a:solidFill>
                <a:latin typeface="Arial Narrow" panose="020B0606020202030204" pitchFamily="34" charset="0"/>
              </a:defRPr>
            </a:lvl1pPr>
          </a:lstStyle>
          <a:p>
            <a:pPr lvl="0"/>
            <a:endParaRPr lang="en-US" dirty="0"/>
          </a:p>
        </p:txBody>
      </p:sp>
      <p:sp>
        <p:nvSpPr>
          <p:cNvPr id="5" name="Title 4"/>
          <p:cNvSpPr>
            <a:spLocks noGrp="1"/>
          </p:cNvSpPr>
          <p:nvPr>
            <p:ph type="title"/>
          </p:nvPr>
        </p:nvSpPr>
        <p:spPr>
          <a:xfrm>
            <a:off x="2466975" y="1074737"/>
            <a:ext cx="8658225" cy="3449638"/>
          </a:xfrm>
          <a:prstGeom prst="rect">
            <a:avLst/>
          </a:prstGeom>
        </p:spPr>
        <p:txBody>
          <a:bodyPr/>
          <a:lstStyle>
            <a:lvl1pPr>
              <a:defRPr sz="4400" b="1"/>
            </a:lvl1pPr>
          </a:lstStyle>
          <a:p>
            <a:endParaRPr lang="bg-BG" dirty="0"/>
          </a:p>
        </p:txBody>
      </p:sp>
      <p:pic>
        <p:nvPicPr>
          <p:cNvPr id="3" name="Картина 2">
            <a:extLst>
              <a:ext uri="{FF2B5EF4-FFF2-40B4-BE49-F238E27FC236}">
                <a16:creationId xmlns:a16="http://schemas.microsoft.com/office/drawing/2014/main" id="{68697A00-5D73-9919-5329-EAC427BD7C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7674" y="5327076"/>
            <a:ext cx="903159" cy="928247"/>
          </a:xfrm>
          <a:prstGeom prst="rect">
            <a:avLst/>
          </a:prstGeom>
        </p:spPr>
      </p:pic>
    </p:spTree>
    <p:extLst>
      <p:ext uri="{BB962C8B-B14F-4D97-AF65-F5344CB8AC3E}">
        <p14:creationId xmlns:p14="http://schemas.microsoft.com/office/powerpoint/2010/main" val="900866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6917793" y="1314450"/>
            <a:ext cx="4769381" cy="4953000"/>
          </a:xfrm>
          <a:prstGeom prst="rect">
            <a:avLst/>
          </a:prstGeom>
        </p:spPr>
        <p:txBody>
          <a:bodyPr/>
          <a:lstStyle>
            <a:lvl1pPr>
              <a:defRPr sz="1600">
                <a:solidFill>
                  <a:schemeClr val="tx1"/>
                </a:solidFill>
              </a:defRPr>
            </a:lvl1pPr>
          </a:lstStyle>
          <a:p>
            <a:endParaRPr lang="bg-BG" dirty="0"/>
          </a:p>
        </p:txBody>
      </p:sp>
      <p:sp>
        <p:nvSpPr>
          <p:cNvPr id="27" name="Chart Placeholder 5"/>
          <p:cNvSpPr>
            <a:spLocks noGrp="1"/>
          </p:cNvSpPr>
          <p:nvPr>
            <p:ph type="chart" sz="quarter" idx="14"/>
          </p:nvPr>
        </p:nvSpPr>
        <p:spPr>
          <a:xfrm>
            <a:off x="2052085" y="1314675"/>
            <a:ext cx="4770458" cy="2397516"/>
          </a:xfrm>
          <a:prstGeom prst="rect">
            <a:avLst/>
          </a:prstGeom>
        </p:spPr>
        <p:txBody>
          <a:bodyPr/>
          <a:lstStyle>
            <a:lvl1pPr>
              <a:defRPr sz="1600">
                <a:solidFill>
                  <a:schemeClr val="tx1"/>
                </a:solidFill>
              </a:defRPr>
            </a:lvl1pPr>
          </a:lstStyle>
          <a:p>
            <a:endParaRPr lang="bg-BG" dirty="0"/>
          </a:p>
        </p:txBody>
      </p:sp>
      <p:sp>
        <p:nvSpPr>
          <p:cNvPr id="28" name="Chart Placeholder 5"/>
          <p:cNvSpPr>
            <a:spLocks noGrp="1"/>
          </p:cNvSpPr>
          <p:nvPr>
            <p:ph type="chart" sz="quarter" idx="15"/>
          </p:nvPr>
        </p:nvSpPr>
        <p:spPr>
          <a:xfrm>
            <a:off x="2043541" y="3833398"/>
            <a:ext cx="4779002" cy="2434052"/>
          </a:xfrm>
          <a:prstGeom prst="rect">
            <a:avLst/>
          </a:prstGeom>
        </p:spPr>
        <p:txBody>
          <a:bodyPr/>
          <a:lstStyle>
            <a:lvl1pPr>
              <a:defRPr sz="1600"/>
            </a:lvl1pPr>
          </a:lstStyle>
          <a:p>
            <a:endParaRPr lang="bg-BG" dirty="0"/>
          </a:p>
        </p:txBody>
      </p:sp>
      <p:sp>
        <p:nvSpPr>
          <p:cNvPr id="31" name="Контейнер за картина 2">
            <a:extLst>
              <a:ext uri="{FF2B5EF4-FFF2-40B4-BE49-F238E27FC236}">
                <a16:creationId xmlns:a16="http://schemas.microsoft.com/office/drawing/2014/main" id="{E6ABDE16-9C7D-4F0E-B8BF-BDEAB72343EA}"/>
              </a:ext>
            </a:extLst>
          </p:cNvPr>
          <p:cNvSpPr>
            <a:spLocks noGrp="1"/>
          </p:cNvSpPr>
          <p:nvPr>
            <p:ph type="pic" sz="quarter" idx="16" hasCustomPrompt="1"/>
          </p:nvPr>
        </p:nvSpPr>
        <p:spPr>
          <a:xfrm>
            <a:off x="47625" y="5172075"/>
            <a:ext cx="1890713" cy="1058864"/>
          </a:xfrm>
          <a:prstGeom prst="rect">
            <a:avLst/>
          </a:prstGeom>
        </p:spPr>
        <p:txBody>
          <a:bodyPr/>
          <a:lstStyle/>
          <a:p>
            <a:r>
              <a:rPr lang="bg-BG" dirty="0"/>
              <a:t>Лого</a:t>
            </a:r>
          </a:p>
        </p:txBody>
      </p:sp>
      <p:sp>
        <p:nvSpPr>
          <p:cNvPr id="32" name="Title 8">
            <a:extLst>
              <a:ext uri="{FF2B5EF4-FFF2-40B4-BE49-F238E27FC236}">
                <a16:creationId xmlns:a16="http://schemas.microsoft.com/office/drawing/2014/main" id="{96626AC5-6F2C-4B4A-AC54-E5F27E9BD622}"/>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3" name="Text Placeholder 12">
            <a:extLst>
              <a:ext uri="{FF2B5EF4-FFF2-40B4-BE49-F238E27FC236}">
                <a16:creationId xmlns:a16="http://schemas.microsoft.com/office/drawing/2014/main" id="{CC9A948B-5E05-4BCA-A469-0476C1E89CFF}"/>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15496246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43541" y="1323975"/>
            <a:ext cx="4785884" cy="2381250"/>
          </a:xfrm>
          <a:prstGeom prst="rect">
            <a:avLst/>
          </a:prstGeom>
        </p:spPr>
        <p:txBody>
          <a:bodyPr/>
          <a:lstStyle>
            <a:lvl1pPr>
              <a:defRPr sz="1600"/>
            </a:lvl1pPr>
          </a:lstStyle>
          <a:p>
            <a:endParaRPr lang="bg-BG" dirty="0"/>
          </a:p>
        </p:txBody>
      </p:sp>
      <p:sp>
        <p:nvSpPr>
          <p:cNvPr id="27" name="Chart Placeholder 5"/>
          <p:cNvSpPr>
            <a:spLocks noGrp="1"/>
          </p:cNvSpPr>
          <p:nvPr>
            <p:ph type="chart" sz="quarter" idx="14"/>
          </p:nvPr>
        </p:nvSpPr>
        <p:spPr>
          <a:xfrm>
            <a:off x="6953251" y="1323975"/>
            <a:ext cx="4733924" cy="2389600"/>
          </a:xfrm>
          <a:prstGeom prst="rect">
            <a:avLst/>
          </a:prstGeom>
        </p:spPr>
        <p:txBody>
          <a:bodyPr/>
          <a:lstStyle>
            <a:lvl1pPr>
              <a:defRPr sz="1600"/>
            </a:lvl1pPr>
          </a:lstStyle>
          <a:p>
            <a:endParaRPr lang="bg-BG" dirty="0"/>
          </a:p>
        </p:txBody>
      </p:sp>
      <p:sp>
        <p:nvSpPr>
          <p:cNvPr id="28" name="Chart Placeholder 5"/>
          <p:cNvSpPr>
            <a:spLocks noGrp="1"/>
          </p:cNvSpPr>
          <p:nvPr>
            <p:ph type="chart" sz="quarter" idx="15"/>
          </p:nvPr>
        </p:nvSpPr>
        <p:spPr>
          <a:xfrm>
            <a:off x="2043539" y="3837579"/>
            <a:ext cx="4785885" cy="2439396"/>
          </a:xfrm>
          <a:prstGeom prst="rect">
            <a:avLst/>
          </a:prstGeom>
        </p:spPr>
        <p:txBody>
          <a:bodyPr/>
          <a:lstStyle>
            <a:lvl1pPr>
              <a:defRPr sz="1600"/>
            </a:lvl1pPr>
          </a:lstStyle>
          <a:p>
            <a:endParaRPr lang="bg-BG" dirty="0"/>
          </a:p>
        </p:txBody>
      </p:sp>
      <p:sp>
        <p:nvSpPr>
          <p:cNvPr id="29" name="Chart Placeholder 5"/>
          <p:cNvSpPr>
            <a:spLocks noGrp="1"/>
          </p:cNvSpPr>
          <p:nvPr>
            <p:ph type="chart" sz="quarter" idx="16"/>
          </p:nvPr>
        </p:nvSpPr>
        <p:spPr>
          <a:xfrm>
            <a:off x="6953251" y="3838575"/>
            <a:ext cx="4733924" cy="2416790"/>
          </a:xfrm>
          <a:prstGeom prst="rect">
            <a:avLst/>
          </a:prstGeom>
        </p:spPr>
        <p:txBody>
          <a:bodyPr/>
          <a:lstStyle>
            <a:lvl1pPr>
              <a:defRPr sz="1600"/>
            </a:lvl1pPr>
          </a:lstStyle>
          <a:p>
            <a:endParaRPr lang="bg-BG" dirty="0"/>
          </a:p>
        </p:txBody>
      </p:sp>
      <p:sp>
        <p:nvSpPr>
          <p:cNvPr id="32" name="Контейнер за картина 2">
            <a:extLst>
              <a:ext uri="{FF2B5EF4-FFF2-40B4-BE49-F238E27FC236}">
                <a16:creationId xmlns:a16="http://schemas.microsoft.com/office/drawing/2014/main" id="{19D5A365-1579-4520-AD50-A38BAC1B3C1A}"/>
              </a:ext>
            </a:extLst>
          </p:cNvPr>
          <p:cNvSpPr>
            <a:spLocks noGrp="1"/>
          </p:cNvSpPr>
          <p:nvPr>
            <p:ph type="pic" sz="quarter" idx="17" hasCustomPrompt="1"/>
          </p:nvPr>
        </p:nvSpPr>
        <p:spPr>
          <a:xfrm>
            <a:off x="47625" y="5172075"/>
            <a:ext cx="1890713" cy="1058864"/>
          </a:xfrm>
          <a:prstGeom prst="rect">
            <a:avLst/>
          </a:prstGeom>
        </p:spPr>
        <p:txBody>
          <a:bodyPr/>
          <a:lstStyle/>
          <a:p>
            <a:r>
              <a:rPr lang="bg-BG" dirty="0"/>
              <a:t>Лого</a:t>
            </a:r>
          </a:p>
        </p:txBody>
      </p:sp>
      <p:sp>
        <p:nvSpPr>
          <p:cNvPr id="33" name="Title 8">
            <a:extLst>
              <a:ext uri="{FF2B5EF4-FFF2-40B4-BE49-F238E27FC236}">
                <a16:creationId xmlns:a16="http://schemas.microsoft.com/office/drawing/2014/main" id="{73063545-ABEE-48D3-9112-796604454E55}"/>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4" name="Text Placeholder 12">
            <a:extLst>
              <a:ext uri="{FF2B5EF4-FFF2-40B4-BE49-F238E27FC236}">
                <a16:creationId xmlns:a16="http://schemas.microsoft.com/office/drawing/2014/main" id="{CCA45DD3-8C4C-4262-B578-D93AFAAF2042}"/>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36625641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52085" y="1323975"/>
            <a:ext cx="9656355" cy="2446749"/>
          </a:xfrm>
          <a:prstGeom prst="rect">
            <a:avLst/>
          </a:prstGeom>
        </p:spPr>
        <p:txBody>
          <a:bodyPr/>
          <a:lstStyle>
            <a:lvl1pPr>
              <a:defRPr sz="1600"/>
            </a:lvl1pPr>
          </a:lstStyle>
          <a:p>
            <a:endParaRPr lang="bg-BG" dirty="0"/>
          </a:p>
        </p:txBody>
      </p:sp>
      <p:sp>
        <p:nvSpPr>
          <p:cNvPr id="28" name="Chart Placeholder 5"/>
          <p:cNvSpPr>
            <a:spLocks noGrp="1"/>
          </p:cNvSpPr>
          <p:nvPr>
            <p:ph type="chart" sz="quarter" idx="14"/>
          </p:nvPr>
        </p:nvSpPr>
        <p:spPr>
          <a:xfrm>
            <a:off x="2043541" y="3895725"/>
            <a:ext cx="9656355" cy="2495550"/>
          </a:xfrm>
          <a:prstGeom prst="rect">
            <a:avLst/>
          </a:prstGeom>
        </p:spPr>
        <p:txBody>
          <a:bodyPr/>
          <a:lstStyle>
            <a:lvl1pPr>
              <a:defRPr sz="1600"/>
            </a:lvl1pPr>
          </a:lstStyle>
          <a:p>
            <a:endParaRPr lang="bg-BG" dirty="0"/>
          </a:p>
        </p:txBody>
      </p:sp>
      <p:sp>
        <p:nvSpPr>
          <p:cNvPr id="30" name="Контейнер за картина 2">
            <a:extLst>
              <a:ext uri="{FF2B5EF4-FFF2-40B4-BE49-F238E27FC236}">
                <a16:creationId xmlns:a16="http://schemas.microsoft.com/office/drawing/2014/main" id="{845BD274-3F17-4884-B442-51C6D2027EF2}"/>
              </a:ext>
            </a:extLst>
          </p:cNvPr>
          <p:cNvSpPr>
            <a:spLocks noGrp="1"/>
          </p:cNvSpPr>
          <p:nvPr>
            <p:ph type="pic" sz="quarter" idx="15" hasCustomPrompt="1"/>
          </p:nvPr>
        </p:nvSpPr>
        <p:spPr>
          <a:xfrm>
            <a:off x="47625" y="5172075"/>
            <a:ext cx="1890713" cy="1058864"/>
          </a:xfrm>
          <a:prstGeom prst="rect">
            <a:avLst/>
          </a:prstGeom>
        </p:spPr>
        <p:txBody>
          <a:bodyPr/>
          <a:lstStyle/>
          <a:p>
            <a:r>
              <a:rPr lang="bg-BG" dirty="0"/>
              <a:t>Лого</a:t>
            </a:r>
          </a:p>
        </p:txBody>
      </p:sp>
      <p:sp>
        <p:nvSpPr>
          <p:cNvPr id="31" name="Title 8">
            <a:extLst>
              <a:ext uri="{FF2B5EF4-FFF2-40B4-BE49-F238E27FC236}">
                <a16:creationId xmlns:a16="http://schemas.microsoft.com/office/drawing/2014/main" id="{9219EF16-0DB4-447C-8A53-FC349D3B16A8}"/>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2" name="Text Placeholder 12">
            <a:extLst>
              <a:ext uri="{FF2B5EF4-FFF2-40B4-BE49-F238E27FC236}">
                <a16:creationId xmlns:a16="http://schemas.microsoft.com/office/drawing/2014/main" id="{7FD4F2A4-5B07-488B-ABA4-B4954385EFE9}"/>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3157943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43541" y="1323975"/>
            <a:ext cx="9664899" cy="2456455"/>
          </a:xfrm>
          <a:prstGeom prst="rect">
            <a:avLst/>
          </a:prstGeom>
        </p:spPr>
        <p:txBody>
          <a:bodyPr/>
          <a:lstStyle>
            <a:lvl1pPr>
              <a:defRPr sz="1600"/>
            </a:lvl1pPr>
          </a:lstStyle>
          <a:p>
            <a:endParaRPr lang="bg-BG" dirty="0"/>
          </a:p>
        </p:txBody>
      </p:sp>
      <p:sp>
        <p:nvSpPr>
          <p:cNvPr id="28" name="Chart Placeholder 5"/>
          <p:cNvSpPr>
            <a:spLocks noGrp="1"/>
          </p:cNvSpPr>
          <p:nvPr>
            <p:ph type="chart" sz="quarter" idx="14"/>
          </p:nvPr>
        </p:nvSpPr>
        <p:spPr>
          <a:xfrm>
            <a:off x="2043541" y="3912605"/>
            <a:ext cx="4804934" cy="2478669"/>
          </a:xfrm>
          <a:prstGeom prst="rect">
            <a:avLst/>
          </a:prstGeom>
        </p:spPr>
        <p:txBody>
          <a:bodyPr/>
          <a:lstStyle>
            <a:lvl1pPr>
              <a:defRPr sz="1600"/>
            </a:lvl1pPr>
          </a:lstStyle>
          <a:p>
            <a:endParaRPr lang="bg-BG" dirty="0"/>
          </a:p>
        </p:txBody>
      </p:sp>
      <p:sp>
        <p:nvSpPr>
          <p:cNvPr id="27" name="Chart Placeholder 5"/>
          <p:cNvSpPr>
            <a:spLocks noGrp="1"/>
          </p:cNvSpPr>
          <p:nvPr>
            <p:ph type="chart" sz="quarter" idx="15"/>
          </p:nvPr>
        </p:nvSpPr>
        <p:spPr>
          <a:xfrm>
            <a:off x="6927319" y="3912606"/>
            <a:ext cx="4782460" cy="2488193"/>
          </a:xfrm>
          <a:prstGeom prst="rect">
            <a:avLst/>
          </a:prstGeom>
        </p:spPr>
        <p:txBody>
          <a:bodyPr/>
          <a:lstStyle>
            <a:lvl1pPr>
              <a:defRPr sz="1600"/>
            </a:lvl1pPr>
          </a:lstStyle>
          <a:p>
            <a:endParaRPr lang="bg-BG" dirty="0"/>
          </a:p>
        </p:txBody>
      </p:sp>
      <p:sp>
        <p:nvSpPr>
          <p:cNvPr id="31" name="Контейнер за картина 2">
            <a:extLst>
              <a:ext uri="{FF2B5EF4-FFF2-40B4-BE49-F238E27FC236}">
                <a16:creationId xmlns:a16="http://schemas.microsoft.com/office/drawing/2014/main" id="{A9331BBA-5D8A-4A29-A551-79FDD1EE3D7C}"/>
              </a:ext>
            </a:extLst>
          </p:cNvPr>
          <p:cNvSpPr>
            <a:spLocks noGrp="1"/>
          </p:cNvSpPr>
          <p:nvPr>
            <p:ph type="pic" sz="quarter" idx="16" hasCustomPrompt="1"/>
          </p:nvPr>
        </p:nvSpPr>
        <p:spPr>
          <a:xfrm>
            <a:off x="47625" y="5172075"/>
            <a:ext cx="1890713" cy="1058864"/>
          </a:xfrm>
          <a:prstGeom prst="rect">
            <a:avLst/>
          </a:prstGeom>
        </p:spPr>
        <p:txBody>
          <a:bodyPr/>
          <a:lstStyle/>
          <a:p>
            <a:r>
              <a:rPr lang="bg-BG" dirty="0"/>
              <a:t>Лого</a:t>
            </a:r>
          </a:p>
        </p:txBody>
      </p:sp>
      <p:sp>
        <p:nvSpPr>
          <p:cNvPr id="32" name="Title 8">
            <a:extLst>
              <a:ext uri="{FF2B5EF4-FFF2-40B4-BE49-F238E27FC236}">
                <a16:creationId xmlns:a16="http://schemas.microsoft.com/office/drawing/2014/main" id="{9A603980-169D-435A-95FD-E00C8E87622A}"/>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3" name="Text Placeholder 12">
            <a:extLst>
              <a:ext uri="{FF2B5EF4-FFF2-40B4-BE49-F238E27FC236}">
                <a16:creationId xmlns:a16="http://schemas.microsoft.com/office/drawing/2014/main" id="{43E4C877-A7EB-4B4B-A4EA-51FFC106D1A0}"/>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2830849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43541" y="3877500"/>
            <a:ext cx="9664899" cy="2466149"/>
          </a:xfrm>
          <a:prstGeom prst="rect">
            <a:avLst/>
          </a:prstGeom>
        </p:spPr>
        <p:txBody>
          <a:bodyPr/>
          <a:lstStyle>
            <a:lvl1pPr>
              <a:defRPr sz="1600"/>
            </a:lvl1pPr>
          </a:lstStyle>
          <a:p>
            <a:endParaRPr lang="bg-BG" dirty="0"/>
          </a:p>
        </p:txBody>
      </p:sp>
      <p:sp>
        <p:nvSpPr>
          <p:cNvPr id="28" name="Chart Placeholder 5"/>
          <p:cNvSpPr>
            <a:spLocks noGrp="1"/>
          </p:cNvSpPr>
          <p:nvPr>
            <p:ph type="chart" sz="quarter" idx="14"/>
          </p:nvPr>
        </p:nvSpPr>
        <p:spPr>
          <a:xfrm>
            <a:off x="2043541" y="1309048"/>
            <a:ext cx="4790348" cy="2457734"/>
          </a:xfrm>
          <a:prstGeom prst="rect">
            <a:avLst/>
          </a:prstGeom>
        </p:spPr>
        <p:txBody>
          <a:bodyPr/>
          <a:lstStyle>
            <a:lvl1pPr>
              <a:defRPr sz="1600"/>
            </a:lvl1pPr>
          </a:lstStyle>
          <a:p>
            <a:endParaRPr lang="bg-BG" dirty="0"/>
          </a:p>
        </p:txBody>
      </p:sp>
      <p:sp>
        <p:nvSpPr>
          <p:cNvPr id="27" name="Chart Placeholder 5"/>
          <p:cNvSpPr>
            <a:spLocks noGrp="1"/>
          </p:cNvSpPr>
          <p:nvPr>
            <p:ph type="chart" sz="quarter" idx="15"/>
          </p:nvPr>
        </p:nvSpPr>
        <p:spPr>
          <a:xfrm>
            <a:off x="6960358" y="1318573"/>
            <a:ext cx="4726816" cy="2447574"/>
          </a:xfrm>
          <a:prstGeom prst="rect">
            <a:avLst/>
          </a:prstGeom>
        </p:spPr>
        <p:txBody>
          <a:bodyPr/>
          <a:lstStyle>
            <a:lvl1pPr>
              <a:defRPr sz="1600"/>
            </a:lvl1pPr>
          </a:lstStyle>
          <a:p>
            <a:endParaRPr lang="bg-BG" dirty="0"/>
          </a:p>
        </p:txBody>
      </p:sp>
      <p:sp>
        <p:nvSpPr>
          <p:cNvPr id="31" name="Контейнер за картина 2">
            <a:extLst>
              <a:ext uri="{FF2B5EF4-FFF2-40B4-BE49-F238E27FC236}">
                <a16:creationId xmlns:a16="http://schemas.microsoft.com/office/drawing/2014/main" id="{D6AA4AB9-3C99-4FD6-B997-FD4231B2D6C2}"/>
              </a:ext>
            </a:extLst>
          </p:cNvPr>
          <p:cNvSpPr>
            <a:spLocks noGrp="1"/>
          </p:cNvSpPr>
          <p:nvPr>
            <p:ph type="pic" sz="quarter" idx="16" hasCustomPrompt="1"/>
          </p:nvPr>
        </p:nvSpPr>
        <p:spPr>
          <a:xfrm>
            <a:off x="47625" y="5172075"/>
            <a:ext cx="1890713" cy="1058864"/>
          </a:xfrm>
          <a:prstGeom prst="rect">
            <a:avLst/>
          </a:prstGeom>
        </p:spPr>
        <p:txBody>
          <a:bodyPr/>
          <a:lstStyle/>
          <a:p>
            <a:r>
              <a:rPr lang="bg-BG" dirty="0"/>
              <a:t>Лого</a:t>
            </a:r>
          </a:p>
        </p:txBody>
      </p:sp>
      <p:sp>
        <p:nvSpPr>
          <p:cNvPr id="32" name="Title 8">
            <a:extLst>
              <a:ext uri="{FF2B5EF4-FFF2-40B4-BE49-F238E27FC236}">
                <a16:creationId xmlns:a16="http://schemas.microsoft.com/office/drawing/2014/main" id="{9CFB053A-E387-4189-9F4E-C581FC522884}"/>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3" name="Text Placeholder 12">
            <a:extLst>
              <a:ext uri="{FF2B5EF4-FFF2-40B4-BE49-F238E27FC236}">
                <a16:creationId xmlns:a16="http://schemas.microsoft.com/office/drawing/2014/main" id="{8E8D4D26-3047-47A7-A1E4-139CAAD6FD84}"/>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1382850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28" name="Chart Placeholder 5"/>
          <p:cNvSpPr>
            <a:spLocks noGrp="1"/>
          </p:cNvSpPr>
          <p:nvPr>
            <p:ph type="chart" sz="quarter" idx="14"/>
          </p:nvPr>
        </p:nvSpPr>
        <p:spPr>
          <a:xfrm>
            <a:off x="2043541" y="3861972"/>
            <a:ext cx="4795408" cy="2448203"/>
          </a:xfrm>
          <a:prstGeom prst="rect">
            <a:avLst/>
          </a:prstGeom>
        </p:spPr>
        <p:txBody>
          <a:bodyPr/>
          <a:lstStyle>
            <a:lvl1pPr>
              <a:defRPr sz="1600"/>
            </a:lvl1pPr>
          </a:lstStyle>
          <a:p>
            <a:endParaRPr lang="bg-BG" dirty="0"/>
          </a:p>
        </p:txBody>
      </p:sp>
      <p:sp>
        <p:nvSpPr>
          <p:cNvPr id="27" name="Chart Placeholder 5"/>
          <p:cNvSpPr>
            <a:spLocks noGrp="1"/>
          </p:cNvSpPr>
          <p:nvPr>
            <p:ph type="chart" sz="quarter" idx="15"/>
          </p:nvPr>
        </p:nvSpPr>
        <p:spPr>
          <a:xfrm>
            <a:off x="6919415" y="1318574"/>
            <a:ext cx="4789025" cy="2407266"/>
          </a:xfrm>
          <a:prstGeom prst="rect">
            <a:avLst/>
          </a:prstGeom>
        </p:spPr>
        <p:txBody>
          <a:bodyPr/>
          <a:lstStyle>
            <a:lvl1pPr>
              <a:defRPr sz="1600">
                <a:solidFill>
                  <a:schemeClr val="tx1"/>
                </a:solidFill>
              </a:defRPr>
            </a:lvl1pPr>
          </a:lstStyle>
          <a:p>
            <a:endParaRPr lang="bg-BG" dirty="0"/>
          </a:p>
        </p:txBody>
      </p:sp>
      <p:sp>
        <p:nvSpPr>
          <p:cNvPr id="8" name="Текстов контейнер 7">
            <a:extLst>
              <a:ext uri="{FF2B5EF4-FFF2-40B4-BE49-F238E27FC236}">
                <a16:creationId xmlns:a16="http://schemas.microsoft.com/office/drawing/2014/main" id="{CD39F0C8-99CA-4AA6-BDFF-81122EC15E56}"/>
              </a:ext>
            </a:extLst>
          </p:cNvPr>
          <p:cNvSpPr>
            <a:spLocks noGrp="1"/>
          </p:cNvSpPr>
          <p:nvPr>
            <p:ph type="body" sz="quarter" idx="16" hasCustomPrompt="1"/>
          </p:nvPr>
        </p:nvSpPr>
        <p:spPr>
          <a:xfrm>
            <a:off x="2052085" y="1318574"/>
            <a:ext cx="4786865" cy="240726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bg-BG"/>
              <a:t>Редактиране на стиловете на текста в образеца</a:t>
            </a:r>
          </a:p>
          <a:p>
            <a:pPr lvl="1"/>
            <a:r>
              <a:rPr lang="bg-BG"/>
              <a:t>Второ ниво</a:t>
            </a:r>
          </a:p>
          <a:p>
            <a:pPr lvl="2"/>
            <a:r>
              <a:rPr lang="bg-BG"/>
              <a:t>Трето ниво</a:t>
            </a:r>
          </a:p>
          <a:p>
            <a:pPr lvl="3"/>
            <a:r>
              <a:rPr lang="bg-BG"/>
              <a:t>Четвърто ниво</a:t>
            </a:r>
          </a:p>
          <a:p>
            <a:pPr lvl="4"/>
            <a:r>
              <a:rPr lang="bg-BG"/>
              <a:t>Пето ниво</a:t>
            </a:r>
            <a:endParaRPr lang="en-US"/>
          </a:p>
        </p:txBody>
      </p:sp>
      <p:sp>
        <p:nvSpPr>
          <p:cNvPr id="29" name="Текстов контейнер 7">
            <a:extLst>
              <a:ext uri="{FF2B5EF4-FFF2-40B4-BE49-F238E27FC236}">
                <a16:creationId xmlns:a16="http://schemas.microsoft.com/office/drawing/2014/main" id="{A3E91718-CA64-481D-B584-3531DDD90F97}"/>
              </a:ext>
            </a:extLst>
          </p:cNvPr>
          <p:cNvSpPr>
            <a:spLocks noGrp="1"/>
          </p:cNvSpPr>
          <p:nvPr>
            <p:ph type="body" sz="quarter" idx="17"/>
          </p:nvPr>
        </p:nvSpPr>
        <p:spPr>
          <a:xfrm>
            <a:off x="6921233" y="3861973"/>
            <a:ext cx="4765941" cy="2465388"/>
          </a:xfrm>
          <a:prstGeom prst="rect">
            <a:avLst/>
          </a:prstGeom>
        </p:spPr>
        <p:txBody>
          <a:bodyPr/>
          <a:lstStyle/>
          <a:p>
            <a:pPr lvl="0"/>
            <a:r>
              <a:rPr lang="bg-BG"/>
              <a:t>Редактиране на стиловете на текста в образеца</a:t>
            </a:r>
          </a:p>
          <a:p>
            <a:pPr lvl="1"/>
            <a:r>
              <a:rPr lang="bg-BG"/>
              <a:t>Второ ниво</a:t>
            </a:r>
          </a:p>
          <a:p>
            <a:pPr lvl="2"/>
            <a:r>
              <a:rPr lang="bg-BG"/>
              <a:t>Трето ниво</a:t>
            </a:r>
          </a:p>
          <a:p>
            <a:pPr lvl="3"/>
            <a:r>
              <a:rPr lang="bg-BG"/>
              <a:t>Четвърто ниво</a:t>
            </a:r>
          </a:p>
          <a:p>
            <a:pPr lvl="4"/>
            <a:r>
              <a:rPr lang="bg-BG"/>
              <a:t>Пето ниво</a:t>
            </a:r>
            <a:endParaRPr lang="en-US"/>
          </a:p>
        </p:txBody>
      </p:sp>
      <p:sp>
        <p:nvSpPr>
          <p:cNvPr id="32" name="Контейнер за картина 2">
            <a:extLst>
              <a:ext uri="{FF2B5EF4-FFF2-40B4-BE49-F238E27FC236}">
                <a16:creationId xmlns:a16="http://schemas.microsoft.com/office/drawing/2014/main" id="{B9552565-D2C7-4D18-A79C-7308FF472B69}"/>
              </a:ext>
            </a:extLst>
          </p:cNvPr>
          <p:cNvSpPr>
            <a:spLocks noGrp="1"/>
          </p:cNvSpPr>
          <p:nvPr>
            <p:ph type="pic" sz="quarter" idx="12" hasCustomPrompt="1"/>
          </p:nvPr>
        </p:nvSpPr>
        <p:spPr>
          <a:xfrm>
            <a:off x="47625" y="5172075"/>
            <a:ext cx="1890713" cy="1058864"/>
          </a:xfrm>
          <a:prstGeom prst="rect">
            <a:avLst/>
          </a:prstGeom>
        </p:spPr>
        <p:txBody>
          <a:bodyPr/>
          <a:lstStyle/>
          <a:p>
            <a:r>
              <a:rPr lang="bg-BG" dirty="0"/>
              <a:t>Лого</a:t>
            </a:r>
          </a:p>
        </p:txBody>
      </p:sp>
      <p:sp>
        <p:nvSpPr>
          <p:cNvPr id="33" name="Title 8">
            <a:extLst>
              <a:ext uri="{FF2B5EF4-FFF2-40B4-BE49-F238E27FC236}">
                <a16:creationId xmlns:a16="http://schemas.microsoft.com/office/drawing/2014/main" id="{4279AEED-36D4-4218-9FDD-CBCE04B47639}"/>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4" name="Text Placeholder 12">
            <a:extLst>
              <a:ext uri="{FF2B5EF4-FFF2-40B4-BE49-F238E27FC236}">
                <a16:creationId xmlns:a16="http://schemas.microsoft.com/office/drawing/2014/main" id="{32C708BA-0218-4253-827E-585B55F69226}"/>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2513642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flipV="1">
            <a:off x="0" y="0"/>
            <a:ext cx="33813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7" name="Group 6"/>
          <p:cNvGrpSpPr/>
          <p:nvPr userDrawn="1"/>
        </p:nvGrpSpPr>
        <p:grpSpPr>
          <a:xfrm>
            <a:off x="10211663" y="0"/>
            <a:ext cx="1978388" cy="6858000"/>
            <a:chOff x="2812" y="0"/>
            <a:chExt cx="1978388" cy="6858000"/>
          </a:xfrm>
        </p:grpSpPr>
        <p:sp>
          <p:nvSpPr>
            <p:cNvPr id="8" name="Rectangle 7"/>
            <p:cNvSpPr/>
            <p:nvPr userDrawn="1"/>
          </p:nvSpPr>
          <p:spPr>
            <a:xfrm>
              <a:off x="2812" y="0"/>
              <a:ext cx="1978388" cy="6858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10" name="Rectangle 9"/>
            <p:cNvSpPr/>
            <p:nvPr userDrawn="1"/>
          </p:nvSpPr>
          <p:spPr>
            <a:xfrm>
              <a:off x="8550" y="485776"/>
              <a:ext cx="1972649" cy="5800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11" name="Group 10"/>
            <p:cNvGrpSpPr/>
            <p:nvPr userDrawn="1"/>
          </p:nvGrpSpPr>
          <p:grpSpPr>
            <a:xfrm>
              <a:off x="2812" y="514351"/>
              <a:ext cx="1940288" cy="747601"/>
              <a:chOff x="-6713" y="514351"/>
              <a:chExt cx="1940288" cy="747601"/>
            </a:xfrm>
          </p:grpSpPr>
          <p:sp>
            <p:nvSpPr>
              <p:cNvPr id="55" name="Rectangle 54"/>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6" name="Rectangle 55"/>
              <p:cNvSpPr/>
              <p:nvPr userDrawn="1"/>
            </p:nvSpPr>
            <p:spPr>
              <a:xfrm>
                <a:off x="384787" y="51435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7" name="Rectangle 56"/>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8" name="Rectangle 57"/>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9" name="Rectangle 58"/>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0" name="Rectangle 59"/>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1" name="Rectangle 60"/>
              <p:cNvSpPr/>
              <p:nvPr userDrawn="1"/>
            </p:nvSpPr>
            <p:spPr>
              <a:xfrm>
                <a:off x="384787"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2" name="Rectangle 61"/>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3" name="Rectangle 62"/>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4" name="Rectangle 63"/>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2" name="Group 11"/>
            <p:cNvGrpSpPr/>
            <p:nvPr userDrawn="1"/>
          </p:nvGrpSpPr>
          <p:grpSpPr>
            <a:xfrm>
              <a:off x="5680" y="1290527"/>
              <a:ext cx="1940288" cy="747601"/>
              <a:chOff x="-6713" y="514351"/>
              <a:chExt cx="1940288" cy="747601"/>
            </a:xfrm>
          </p:grpSpPr>
          <p:sp>
            <p:nvSpPr>
              <p:cNvPr id="48" name="Rectangle 47"/>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9" name="Rectangle 48"/>
              <p:cNvSpPr/>
              <p:nvPr userDrawn="1"/>
            </p:nvSpPr>
            <p:spPr>
              <a:xfrm>
                <a:off x="781050" y="514351"/>
                <a:ext cx="360000" cy="36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0" name="Rectangle 49"/>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1" name="Rectangle 50"/>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781050" y="901952"/>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3" name="Rectangle 52"/>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4" name="Rectangle 53"/>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3" name="Group 12"/>
            <p:cNvGrpSpPr/>
            <p:nvPr userDrawn="1"/>
          </p:nvGrpSpPr>
          <p:grpSpPr>
            <a:xfrm>
              <a:off x="8548" y="2066703"/>
              <a:ext cx="1940288" cy="747601"/>
              <a:chOff x="-6713" y="514351"/>
              <a:chExt cx="1940288" cy="747601"/>
            </a:xfrm>
          </p:grpSpPr>
          <p:sp>
            <p:nvSpPr>
              <p:cNvPr id="39" name="Rectangle 38"/>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0" name="Rectangle 39"/>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1" name="Rectangle 40"/>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2" name="Rectangle 41"/>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3" name="Rectangle 42"/>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384787"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6" name="Rectangle 45"/>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7" name="Rectangle 46"/>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4" name="Group 13"/>
            <p:cNvGrpSpPr/>
            <p:nvPr userDrawn="1"/>
          </p:nvGrpSpPr>
          <p:grpSpPr>
            <a:xfrm>
              <a:off x="11416" y="2842879"/>
              <a:ext cx="1940288" cy="747601"/>
              <a:chOff x="-6713" y="514351"/>
              <a:chExt cx="1940288" cy="747601"/>
            </a:xfrm>
          </p:grpSpPr>
          <p:sp>
            <p:nvSpPr>
              <p:cNvPr id="31" name="Rectangle 30"/>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Rectangle 31"/>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ectangle 32"/>
              <p:cNvSpPr/>
              <p:nvPr userDrawn="1"/>
            </p:nvSpPr>
            <p:spPr>
              <a:xfrm>
                <a:off x="781050" y="514351"/>
                <a:ext cx="360000" cy="360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4" name="Rectangle 33"/>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5" name="Rectangle 34"/>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6" name="Rectangle 35"/>
              <p:cNvSpPr/>
              <p:nvPr userDrawn="1"/>
            </p:nvSpPr>
            <p:spPr>
              <a:xfrm>
                <a:off x="384787" y="901952"/>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7" name="Rectangle 36"/>
              <p:cNvSpPr/>
              <p:nvPr userDrawn="1"/>
            </p:nvSpPr>
            <p:spPr>
              <a:xfrm>
                <a:off x="781050" y="901952"/>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8" name="Rectangle 37"/>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5" name="Group 14"/>
            <p:cNvGrpSpPr/>
            <p:nvPr userDrawn="1"/>
          </p:nvGrpSpPr>
          <p:grpSpPr>
            <a:xfrm>
              <a:off x="14284" y="3619055"/>
              <a:ext cx="1940288" cy="747601"/>
              <a:chOff x="-6713" y="514351"/>
              <a:chExt cx="1940288" cy="747601"/>
            </a:xfrm>
          </p:grpSpPr>
          <p:sp>
            <p:nvSpPr>
              <p:cNvPr id="23" name="Rectangle 22"/>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4" name="Rectangle 23"/>
              <p:cNvSpPr/>
              <p:nvPr userDrawn="1"/>
            </p:nvSpPr>
            <p:spPr>
              <a:xfrm>
                <a:off x="384787" y="514351"/>
                <a:ext cx="360000" cy="360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5" name="Rectangle 24"/>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6" name="Rectangle 25"/>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Rectangle 26"/>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8" name="Rectangle 27"/>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Rectangle 28"/>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0" name="Rectangle 29"/>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6" name="Group 15"/>
            <p:cNvGrpSpPr/>
            <p:nvPr userDrawn="1"/>
          </p:nvGrpSpPr>
          <p:grpSpPr>
            <a:xfrm>
              <a:off x="408652" y="4395231"/>
              <a:ext cx="1548788" cy="747601"/>
              <a:chOff x="384787" y="514351"/>
              <a:chExt cx="1548788" cy="747601"/>
            </a:xfrm>
          </p:grpSpPr>
          <p:sp>
            <p:nvSpPr>
              <p:cNvPr id="18" name="Rectangle 17"/>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9" name="Rectangle 18"/>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0" name="Rectangle 19"/>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Rectangle 20"/>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2" name="Rectangle 21"/>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17" name="Rectangle 16"/>
            <p:cNvSpPr/>
            <p:nvPr userDrawn="1"/>
          </p:nvSpPr>
          <p:spPr>
            <a:xfrm>
              <a:off x="1600308" y="5171407"/>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66" name="Rectangle 65"/>
          <p:cNvSpPr/>
          <p:nvPr userDrawn="1"/>
        </p:nvSpPr>
        <p:spPr>
          <a:xfrm>
            <a:off x="1571626" y="2241607"/>
            <a:ext cx="3448050" cy="300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solidFill>
                <a:schemeClr val="accent2"/>
              </a:solidFill>
            </a:endParaRPr>
          </a:p>
          <a:p>
            <a:pPr algn="l"/>
            <a:r>
              <a:rPr lang="bg-BG" b="1" dirty="0">
                <a:solidFill>
                  <a:schemeClr val="accent2"/>
                </a:solidFill>
              </a:rPr>
              <a:t>За контакти:</a:t>
            </a:r>
          </a:p>
          <a:p>
            <a:pPr algn="l"/>
            <a:r>
              <a:rPr lang="bg-BG" dirty="0">
                <a:solidFill>
                  <a:schemeClr val="accent2"/>
                </a:solidFill>
              </a:rPr>
              <a:t>Алфа</a:t>
            </a:r>
            <a:r>
              <a:rPr lang="bg-BG" baseline="0" dirty="0">
                <a:solidFill>
                  <a:schemeClr val="accent2"/>
                </a:solidFill>
              </a:rPr>
              <a:t> Рисърч</a:t>
            </a:r>
          </a:p>
          <a:p>
            <a:pPr algn="l"/>
            <a:r>
              <a:rPr lang="bg-BG" baseline="0" dirty="0">
                <a:solidFill>
                  <a:schemeClr val="accent2"/>
                </a:solidFill>
              </a:rPr>
              <a:t>България, София 1000,</a:t>
            </a:r>
          </a:p>
          <a:p>
            <a:pPr algn="l"/>
            <a:r>
              <a:rPr lang="bg-BG" baseline="0" dirty="0">
                <a:solidFill>
                  <a:schemeClr val="accent2"/>
                </a:solidFill>
              </a:rPr>
              <a:t>ул. Искър 54</a:t>
            </a:r>
          </a:p>
          <a:p>
            <a:pPr algn="l"/>
            <a:endParaRPr lang="bg-BG" baseline="0" dirty="0">
              <a:solidFill>
                <a:schemeClr val="accent2"/>
              </a:solidFill>
            </a:endParaRPr>
          </a:p>
          <a:p>
            <a:pPr algn="l"/>
            <a:r>
              <a:rPr lang="bg-BG" baseline="0" dirty="0">
                <a:solidFill>
                  <a:schemeClr val="accent2"/>
                </a:solidFill>
              </a:rPr>
              <a:t>Тел.: +359 2 983 60 56</a:t>
            </a:r>
          </a:p>
          <a:p>
            <a:pPr algn="l"/>
            <a:r>
              <a:rPr lang="bg-BG" baseline="0" dirty="0">
                <a:solidFill>
                  <a:schemeClr val="accent2"/>
                </a:solidFill>
              </a:rPr>
              <a:t>Факс: +359 2 983 61 68</a:t>
            </a:r>
          </a:p>
          <a:p>
            <a:pPr algn="l"/>
            <a:endParaRPr lang="bg-BG" baseline="0" dirty="0">
              <a:solidFill>
                <a:schemeClr val="accent2"/>
              </a:solidFill>
            </a:endParaRPr>
          </a:p>
          <a:p>
            <a:pPr algn="l"/>
            <a:r>
              <a:rPr lang="en-US" i="0" u="none" baseline="0" dirty="0">
                <a:solidFill>
                  <a:schemeClr val="accent2"/>
                </a:solidFill>
              </a:rPr>
              <a:t>E-mail: headoffice@alpharesearch.bg</a:t>
            </a:r>
          </a:p>
          <a:p>
            <a:pPr algn="l"/>
            <a:r>
              <a:rPr lang="en-US" sz="1800" i="0" u="none" kern="1200" baseline="0" dirty="0">
                <a:solidFill>
                  <a:schemeClr val="accent2"/>
                </a:solidFill>
                <a:latin typeface="+mn-lt"/>
                <a:ea typeface="+mn-ea"/>
                <a:cs typeface="+mn-cs"/>
              </a:rPr>
              <a:t>www.alpharesearch.bg</a:t>
            </a:r>
          </a:p>
          <a:p>
            <a:pPr algn="ctr"/>
            <a:endParaRPr lang="bg-BG" dirty="0"/>
          </a:p>
        </p:txBody>
      </p:sp>
      <p:sp>
        <p:nvSpPr>
          <p:cNvPr id="67" name="Isosceles Triangle 51">
            <a:extLst>
              <a:ext uri="{FF2B5EF4-FFF2-40B4-BE49-F238E27FC236}">
                <a16:creationId xmlns:a16="http://schemas.microsoft.com/office/drawing/2014/main" id="{2296D13E-298C-4F01-A77D-43547A7AEFA9}"/>
              </a:ext>
            </a:extLst>
          </p:cNvPr>
          <p:cNvSpPr/>
          <p:nvPr userDrawn="1"/>
        </p:nvSpPr>
        <p:spPr>
          <a:xfrm>
            <a:off x="3764383" y="1309577"/>
            <a:ext cx="426618" cy="265697"/>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8" name="Rounded Rectangle 6">
            <a:extLst>
              <a:ext uri="{FF2B5EF4-FFF2-40B4-BE49-F238E27FC236}">
                <a16:creationId xmlns:a16="http://schemas.microsoft.com/office/drawing/2014/main" id="{11DB8BB9-D675-470D-AC1D-C9EF80405172}"/>
              </a:ext>
            </a:extLst>
          </p:cNvPr>
          <p:cNvSpPr/>
          <p:nvPr userDrawn="1"/>
        </p:nvSpPr>
        <p:spPr>
          <a:xfrm>
            <a:off x="2899104" y="1248798"/>
            <a:ext cx="482271" cy="431251"/>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9" name="Freeform 25">
            <a:extLst>
              <a:ext uri="{FF2B5EF4-FFF2-40B4-BE49-F238E27FC236}">
                <a16:creationId xmlns:a16="http://schemas.microsoft.com/office/drawing/2014/main" id="{115A3EAB-6A86-45ED-8F48-A7797A2D6676}"/>
              </a:ext>
            </a:extLst>
          </p:cNvPr>
          <p:cNvSpPr/>
          <p:nvPr userDrawn="1"/>
        </p:nvSpPr>
        <p:spPr>
          <a:xfrm flipH="1">
            <a:off x="2171746" y="1239273"/>
            <a:ext cx="342851" cy="440776"/>
          </a:xfrm>
          <a:custGeom>
            <a:avLst/>
            <a:gdLst>
              <a:gd name="connsiteX0" fmla="*/ 371475 w 1600200"/>
              <a:gd name="connsiteY0" fmla="*/ 0 h 1857375"/>
              <a:gd name="connsiteX1" fmla="*/ 628650 w 1600200"/>
              <a:gd name="connsiteY1" fmla="*/ 523875 h 1857375"/>
              <a:gd name="connsiteX2" fmla="*/ 400050 w 1600200"/>
              <a:gd name="connsiteY2" fmla="*/ 561975 h 1857375"/>
              <a:gd name="connsiteX3" fmla="*/ 1019175 w 1600200"/>
              <a:gd name="connsiteY3" fmla="*/ 1438275 h 1857375"/>
              <a:gd name="connsiteX4" fmla="*/ 1219200 w 1600200"/>
              <a:gd name="connsiteY4" fmla="*/ 1238250 h 1857375"/>
              <a:gd name="connsiteX5" fmla="*/ 1600200 w 1600200"/>
              <a:gd name="connsiteY5" fmla="*/ 1666875 h 1857375"/>
              <a:gd name="connsiteX6" fmla="*/ 1038225 w 1600200"/>
              <a:gd name="connsiteY6" fmla="*/ 1857375 h 1857375"/>
              <a:gd name="connsiteX7" fmla="*/ 0 w 1600200"/>
              <a:gd name="connsiteY7" fmla="*/ 314325 h 1857375"/>
              <a:gd name="connsiteX8" fmla="*/ 371475 w 1600200"/>
              <a:gd name="connsiteY8" fmla="*/ 0 h 1857375"/>
              <a:gd name="connsiteX0" fmla="*/ 371475 w 1600200"/>
              <a:gd name="connsiteY0" fmla="*/ 0 h 1917951"/>
              <a:gd name="connsiteX1" fmla="*/ 628650 w 1600200"/>
              <a:gd name="connsiteY1" fmla="*/ 584451 h 1917951"/>
              <a:gd name="connsiteX2" fmla="*/ 400050 w 1600200"/>
              <a:gd name="connsiteY2" fmla="*/ 622551 h 1917951"/>
              <a:gd name="connsiteX3" fmla="*/ 1019175 w 1600200"/>
              <a:gd name="connsiteY3" fmla="*/ 1498851 h 1917951"/>
              <a:gd name="connsiteX4" fmla="*/ 1219200 w 1600200"/>
              <a:gd name="connsiteY4" fmla="*/ 1298826 h 1917951"/>
              <a:gd name="connsiteX5" fmla="*/ 1600200 w 1600200"/>
              <a:gd name="connsiteY5" fmla="*/ 1727451 h 1917951"/>
              <a:gd name="connsiteX6" fmla="*/ 1038225 w 1600200"/>
              <a:gd name="connsiteY6" fmla="*/ 1917951 h 1917951"/>
              <a:gd name="connsiteX7" fmla="*/ 0 w 1600200"/>
              <a:gd name="connsiteY7" fmla="*/ 374901 h 1917951"/>
              <a:gd name="connsiteX8" fmla="*/ 371475 w 1600200"/>
              <a:gd name="connsiteY8" fmla="*/ 0 h 1917951"/>
              <a:gd name="connsiteX0" fmla="*/ 371475 w 1600200"/>
              <a:gd name="connsiteY0" fmla="*/ 1277 h 1919228"/>
              <a:gd name="connsiteX1" fmla="*/ 628650 w 1600200"/>
              <a:gd name="connsiteY1" fmla="*/ 585728 h 1919228"/>
              <a:gd name="connsiteX2" fmla="*/ 400050 w 1600200"/>
              <a:gd name="connsiteY2" fmla="*/ 623828 h 1919228"/>
              <a:gd name="connsiteX3" fmla="*/ 1019175 w 1600200"/>
              <a:gd name="connsiteY3" fmla="*/ 1500128 h 1919228"/>
              <a:gd name="connsiteX4" fmla="*/ 1219200 w 1600200"/>
              <a:gd name="connsiteY4" fmla="*/ 1300103 h 1919228"/>
              <a:gd name="connsiteX5" fmla="*/ 1600200 w 1600200"/>
              <a:gd name="connsiteY5" fmla="*/ 1728728 h 1919228"/>
              <a:gd name="connsiteX6" fmla="*/ 1038225 w 1600200"/>
              <a:gd name="connsiteY6" fmla="*/ 1919228 h 1919228"/>
              <a:gd name="connsiteX7" fmla="*/ 0 w 1600200"/>
              <a:gd name="connsiteY7" fmla="*/ 376178 h 1919228"/>
              <a:gd name="connsiteX8" fmla="*/ 371475 w 1600200"/>
              <a:gd name="connsiteY8" fmla="*/ 1277 h 1919228"/>
              <a:gd name="connsiteX0" fmla="*/ 371475 w 1600200"/>
              <a:gd name="connsiteY0" fmla="*/ 1277 h 1919228"/>
              <a:gd name="connsiteX1" fmla="*/ 628650 w 1600200"/>
              <a:gd name="connsiteY1" fmla="*/ 585728 h 1919228"/>
              <a:gd name="connsiteX2" fmla="*/ 400050 w 1600200"/>
              <a:gd name="connsiteY2" fmla="*/ 623828 h 1919228"/>
              <a:gd name="connsiteX3" fmla="*/ 1019175 w 1600200"/>
              <a:gd name="connsiteY3" fmla="*/ 1500128 h 1919228"/>
              <a:gd name="connsiteX4" fmla="*/ 1219200 w 1600200"/>
              <a:gd name="connsiteY4" fmla="*/ 1300103 h 1919228"/>
              <a:gd name="connsiteX5" fmla="*/ 1600200 w 1600200"/>
              <a:gd name="connsiteY5" fmla="*/ 1728728 h 1919228"/>
              <a:gd name="connsiteX6" fmla="*/ 1038225 w 1600200"/>
              <a:gd name="connsiteY6" fmla="*/ 1919228 h 1919228"/>
              <a:gd name="connsiteX7" fmla="*/ 0 w 1600200"/>
              <a:gd name="connsiteY7" fmla="*/ 376178 h 1919228"/>
              <a:gd name="connsiteX8" fmla="*/ 371475 w 1600200"/>
              <a:gd name="connsiteY8" fmla="*/ 1277 h 1919228"/>
              <a:gd name="connsiteX0" fmla="*/ 371475 w 1600200"/>
              <a:gd name="connsiteY0" fmla="*/ 1544 h 1919495"/>
              <a:gd name="connsiteX1" fmla="*/ 628650 w 1600200"/>
              <a:gd name="connsiteY1" fmla="*/ 585995 h 1919495"/>
              <a:gd name="connsiteX2" fmla="*/ 400050 w 1600200"/>
              <a:gd name="connsiteY2" fmla="*/ 624095 h 1919495"/>
              <a:gd name="connsiteX3" fmla="*/ 1019175 w 1600200"/>
              <a:gd name="connsiteY3" fmla="*/ 1500395 h 1919495"/>
              <a:gd name="connsiteX4" fmla="*/ 1219200 w 1600200"/>
              <a:gd name="connsiteY4" fmla="*/ 1300370 h 1919495"/>
              <a:gd name="connsiteX5" fmla="*/ 1600200 w 1600200"/>
              <a:gd name="connsiteY5" fmla="*/ 1728995 h 1919495"/>
              <a:gd name="connsiteX6" fmla="*/ 1038225 w 1600200"/>
              <a:gd name="connsiteY6" fmla="*/ 1919495 h 1919495"/>
              <a:gd name="connsiteX7" fmla="*/ 0 w 1600200"/>
              <a:gd name="connsiteY7" fmla="*/ 376445 h 1919495"/>
              <a:gd name="connsiteX8" fmla="*/ 371475 w 1600200"/>
              <a:gd name="connsiteY8" fmla="*/ 1544 h 1919495"/>
              <a:gd name="connsiteX0" fmla="*/ 371475 w 1600200"/>
              <a:gd name="connsiteY0" fmla="*/ 1487 h 1919438"/>
              <a:gd name="connsiteX1" fmla="*/ 568075 w 1600200"/>
              <a:gd name="connsiteY1" fmla="*/ 603245 h 1919438"/>
              <a:gd name="connsiteX2" fmla="*/ 400050 w 1600200"/>
              <a:gd name="connsiteY2" fmla="*/ 624038 h 1919438"/>
              <a:gd name="connsiteX3" fmla="*/ 1019175 w 1600200"/>
              <a:gd name="connsiteY3" fmla="*/ 1500338 h 1919438"/>
              <a:gd name="connsiteX4" fmla="*/ 1219200 w 1600200"/>
              <a:gd name="connsiteY4" fmla="*/ 1300313 h 1919438"/>
              <a:gd name="connsiteX5" fmla="*/ 1600200 w 1600200"/>
              <a:gd name="connsiteY5" fmla="*/ 1728938 h 1919438"/>
              <a:gd name="connsiteX6" fmla="*/ 1038225 w 1600200"/>
              <a:gd name="connsiteY6" fmla="*/ 1919438 h 1919438"/>
              <a:gd name="connsiteX7" fmla="*/ 0 w 1600200"/>
              <a:gd name="connsiteY7" fmla="*/ 376388 h 1919438"/>
              <a:gd name="connsiteX8" fmla="*/ 371475 w 1600200"/>
              <a:gd name="connsiteY8" fmla="*/ 1487 h 1919438"/>
              <a:gd name="connsiteX0" fmla="*/ 371475 w 1600200"/>
              <a:gd name="connsiteY0" fmla="*/ 1032 h 1918983"/>
              <a:gd name="connsiteX1" fmla="*/ 568075 w 1600200"/>
              <a:gd name="connsiteY1" fmla="*/ 602790 h 1918983"/>
              <a:gd name="connsiteX2" fmla="*/ 400050 w 1600200"/>
              <a:gd name="connsiteY2" fmla="*/ 623583 h 1918983"/>
              <a:gd name="connsiteX3" fmla="*/ 1019175 w 1600200"/>
              <a:gd name="connsiteY3" fmla="*/ 1499883 h 1918983"/>
              <a:gd name="connsiteX4" fmla="*/ 1219200 w 1600200"/>
              <a:gd name="connsiteY4" fmla="*/ 1299858 h 1918983"/>
              <a:gd name="connsiteX5" fmla="*/ 1600200 w 1600200"/>
              <a:gd name="connsiteY5" fmla="*/ 1728483 h 1918983"/>
              <a:gd name="connsiteX6" fmla="*/ 1038225 w 1600200"/>
              <a:gd name="connsiteY6" fmla="*/ 1918983 h 1918983"/>
              <a:gd name="connsiteX7" fmla="*/ 0 w 1600200"/>
              <a:gd name="connsiteY7" fmla="*/ 375933 h 1918983"/>
              <a:gd name="connsiteX8" fmla="*/ 371475 w 1600200"/>
              <a:gd name="connsiteY8" fmla="*/ 1032 h 1918983"/>
              <a:gd name="connsiteX0" fmla="*/ 371475 w 1600200"/>
              <a:gd name="connsiteY0" fmla="*/ 1088 h 1919039"/>
              <a:gd name="connsiteX1" fmla="*/ 568075 w 1600200"/>
              <a:gd name="connsiteY1" fmla="*/ 602846 h 1919039"/>
              <a:gd name="connsiteX2" fmla="*/ 400050 w 1600200"/>
              <a:gd name="connsiteY2" fmla="*/ 623639 h 1919039"/>
              <a:gd name="connsiteX3" fmla="*/ 1019175 w 1600200"/>
              <a:gd name="connsiteY3" fmla="*/ 1499939 h 1919039"/>
              <a:gd name="connsiteX4" fmla="*/ 1219200 w 1600200"/>
              <a:gd name="connsiteY4" fmla="*/ 1299914 h 1919039"/>
              <a:gd name="connsiteX5" fmla="*/ 1600200 w 1600200"/>
              <a:gd name="connsiteY5" fmla="*/ 1728539 h 1919039"/>
              <a:gd name="connsiteX6" fmla="*/ 1038225 w 1600200"/>
              <a:gd name="connsiteY6" fmla="*/ 1919039 h 1919039"/>
              <a:gd name="connsiteX7" fmla="*/ 0 w 1600200"/>
              <a:gd name="connsiteY7" fmla="*/ 375989 h 1919039"/>
              <a:gd name="connsiteX8" fmla="*/ 371475 w 1600200"/>
              <a:gd name="connsiteY8" fmla="*/ 1088 h 1919039"/>
              <a:gd name="connsiteX0" fmla="*/ 371475 w 1600200"/>
              <a:gd name="connsiteY0" fmla="*/ 1088 h 1919039"/>
              <a:gd name="connsiteX1" fmla="*/ 568075 w 1600200"/>
              <a:gd name="connsiteY1" fmla="*/ 602846 h 1919039"/>
              <a:gd name="connsiteX2" fmla="*/ 400050 w 1600200"/>
              <a:gd name="connsiteY2" fmla="*/ 623639 h 1919039"/>
              <a:gd name="connsiteX3" fmla="*/ 1019175 w 1600200"/>
              <a:gd name="connsiteY3" fmla="*/ 1499939 h 1919039"/>
              <a:gd name="connsiteX4" fmla="*/ 1219200 w 1600200"/>
              <a:gd name="connsiteY4" fmla="*/ 1299914 h 1919039"/>
              <a:gd name="connsiteX5" fmla="*/ 1600200 w 1600200"/>
              <a:gd name="connsiteY5" fmla="*/ 1728539 h 1919039"/>
              <a:gd name="connsiteX6" fmla="*/ 1038225 w 1600200"/>
              <a:gd name="connsiteY6" fmla="*/ 1919039 h 1919039"/>
              <a:gd name="connsiteX7" fmla="*/ 0 w 1600200"/>
              <a:gd name="connsiteY7" fmla="*/ 375989 h 1919039"/>
              <a:gd name="connsiteX8" fmla="*/ 371475 w 1600200"/>
              <a:gd name="connsiteY8" fmla="*/ 1088 h 1919039"/>
              <a:gd name="connsiteX0" fmla="*/ 371475 w 1600200"/>
              <a:gd name="connsiteY0" fmla="*/ 1118 h 1919069"/>
              <a:gd name="connsiteX1" fmla="*/ 568075 w 1600200"/>
              <a:gd name="connsiteY1" fmla="*/ 602876 h 1919069"/>
              <a:gd name="connsiteX2" fmla="*/ 400050 w 1600200"/>
              <a:gd name="connsiteY2" fmla="*/ 623669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408703 w 1600200"/>
              <a:gd name="connsiteY2" fmla="*/ 643860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59666 w 1600200"/>
              <a:gd name="connsiteY2" fmla="*/ 643860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70138 w 1600200"/>
              <a:gd name="connsiteY3" fmla="*/ 1517276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0522 w 1600200"/>
              <a:gd name="connsiteY3" fmla="*/ 1534584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96099 w 1600200"/>
              <a:gd name="connsiteY3" fmla="*/ 1546122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588662"/>
              <a:gd name="connsiteY0" fmla="*/ 1118 h 1919069"/>
              <a:gd name="connsiteX1" fmla="*/ 568075 w 1588662"/>
              <a:gd name="connsiteY1" fmla="*/ 602876 h 1919069"/>
              <a:gd name="connsiteX2" fmla="*/ 374089 w 1588662"/>
              <a:gd name="connsiteY2" fmla="*/ 646744 h 1919069"/>
              <a:gd name="connsiteX3" fmla="*/ 987445 w 1588662"/>
              <a:gd name="connsiteY3" fmla="*/ 1528815 h 1919069"/>
              <a:gd name="connsiteX4" fmla="*/ 1173048 w 1588662"/>
              <a:gd name="connsiteY4" fmla="*/ 1311482 h 1919069"/>
              <a:gd name="connsiteX5" fmla="*/ 1588662 w 1588662"/>
              <a:gd name="connsiteY5" fmla="*/ 1699723 h 1919069"/>
              <a:gd name="connsiteX6" fmla="*/ 1038225 w 1588662"/>
              <a:gd name="connsiteY6" fmla="*/ 1919069 h 1919069"/>
              <a:gd name="connsiteX7" fmla="*/ 0 w 1588662"/>
              <a:gd name="connsiteY7" fmla="*/ 376019 h 1919069"/>
              <a:gd name="connsiteX8" fmla="*/ 371475 w 1588662"/>
              <a:gd name="connsiteY8" fmla="*/ 1118 h 1919069"/>
              <a:gd name="connsiteX0" fmla="*/ 371475 w 1600166"/>
              <a:gd name="connsiteY0" fmla="*/ 1118 h 1919069"/>
              <a:gd name="connsiteX1" fmla="*/ 568075 w 1600166"/>
              <a:gd name="connsiteY1" fmla="*/ 602876 h 1919069"/>
              <a:gd name="connsiteX2" fmla="*/ 374089 w 1600166"/>
              <a:gd name="connsiteY2" fmla="*/ 646744 h 1919069"/>
              <a:gd name="connsiteX3" fmla="*/ 987445 w 1600166"/>
              <a:gd name="connsiteY3" fmla="*/ 1528815 h 1919069"/>
              <a:gd name="connsiteX4" fmla="*/ 1173048 w 1600166"/>
              <a:gd name="connsiteY4" fmla="*/ 1311482 h 1919069"/>
              <a:gd name="connsiteX5" fmla="*/ 1588662 w 1600166"/>
              <a:gd name="connsiteY5" fmla="*/ 1699723 h 1919069"/>
              <a:gd name="connsiteX6" fmla="*/ 1038225 w 1600166"/>
              <a:gd name="connsiteY6" fmla="*/ 1919069 h 1919069"/>
              <a:gd name="connsiteX7" fmla="*/ 0 w 1600166"/>
              <a:gd name="connsiteY7" fmla="*/ 376019 h 1919069"/>
              <a:gd name="connsiteX8" fmla="*/ 371475 w 1600166"/>
              <a:gd name="connsiteY8" fmla="*/ 1118 h 1919069"/>
              <a:gd name="connsiteX0" fmla="*/ 371475 w 1600166"/>
              <a:gd name="connsiteY0" fmla="*/ 1118 h 1919069"/>
              <a:gd name="connsiteX1" fmla="*/ 568075 w 1600166"/>
              <a:gd name="connsiteY1" fmla="*/ 602876 h 1919069"/>
              <a:gd name="connsiteX2" fmla="*/ 374089 w 1600166"/>
              <a:gd name="connsiteY2" fmla="*/ 646744 h 1919069"/>
              <a:gd name="connsiteX3" fmla="*/ 987445 w 1600166"/>
              <a:gd name="connsiteY3" fmla="*/ 1528815 h 1919069"/>
              <a:gd name="connsiteX4" fmla="*/ 1173048 w 1600166"/>
              <a:gd name="connsiteY4" fmla="*/ 1311482 h 1919069"/>
              <a:gd name="connsiteX5" fmla="*/ 1588662 w 1600166"/>
              <a:gd name="connsiteY5" fmla="*/ 1699723 h 1919069"/>
              <a:gd name="connsiteX6" fmla="*/ 1038225 w 1600166"/>
              <a:gd name="connsiteY6" fmla="*/ 1919069 h 1919069"/>
              <a:gd name="connsiteX7" fmla="*/ 0 w 1600166"/>
              <a:gd name="connsiteY7" fmla="*/ 376019 h 1919069"/>
              <a:gd name="connsiteX8" fmla="*/ 371475 w 1600166"/>
              <a:gd name="connsiteY8" fmla="*/ 1118 h 1919069"/>
              <a:gd name="connsiteX0" fmla="*/ 371475 w 1596260"/>
              <a:gd name="connsiteY0" fmla="*/ 1118 h 1919069"/>
              <a:gd name="connsiteX1" fmla="*/ 568075 w 1596260"/>
              <a:gd name="connsiteY1" fmla="*/ 602876 h 1919069"/>
              <a:gd name="connsiteX2" fmla="*/ 374089 w 1596260"/>
              <a:gd name="connsiteY2" fmla="*/ 646744 h 1919069"/>
              <a:gd name="connsiteX3" fmla="*/ 987445 w 1596260"/>
              <a:gd name="connsiteY3" fmla="*/ 1528815 h 1919069"/>
              <a:gd name="connsiteX4" fmla="*/ 1173048 w 1596260"/>
              <a:gd name="connsiteY4" fmla="*/ 1311482 h 1919069"/>
              <a:gd name="connsiteX5" fmla="*/ 1588662 w 1596260"/>
              <a:gd name="connsiteY5" fmla="*/ 1699723 h 1919069"/>
              <a:gd name="connsiteX6" fmla="*/ 1038225 w 1596260"/>
              <a:gd name="connsiteY6" fmla="*/ 1919069 h 1919069"/>
              <a:gd name="connsiteX7" fmla="*/ 0 w 1596260"/>
              <a:gd name="connsiteY7" fmla="*/ 376019 h 1919069"/>
              <a:gd name="connsiteX8" fmla="*/ 371475 w 1596260"/>
              <a:gd name="connsiteY8" fmla="*/ 1118 h 1919069"/>
              <a:gd name="connsiteX0" fmla="*/ 371475 w 1596260"/>
              <a:gd name="connsiteY0" fmla="*/ 1118 h 1919069"/>
              <a:gd name="connsiteX1" fmla="*/ 568075 w 1596260"/>
              <a:gd name="connsiteY1" fmla="*/ 602876 h 1919069"/>
              <a:gd name="connsiteX2" fmla="*/ 374089 w 1596260"/>
              <a:gd name="connsiteY2" fmla="*/ 646744 h 1919069"/>
              <a:gd name="connsiteX3" fmla="*/ 987445 w 1596260"/>
              <a:gd name="connsiteY3" fmla="*/ 1528815 h 1919069"/>
              <a:gd name="connsiteX4" fmla="*/ 1173048 w 1596260"/>
              <a:gd name="connsiteY4" fmla="*/ 1311482 h 1919069"/>
              <a:gd name="connsiteX5" fmla="*/ 1588662 w 1596260"/>
              <a:gd name="connsiteY5" fmla="*/ 1699723 h 1919069"/>
              <a:gd name="connsiteX6" fmla="*/ 1038225 w 1596260"/>
              <a:gd name="connsiteY6" fmla="*/ 1919069 h 1919069"/>
              <a:gd name="connsiteX7" fmla="*/ 0 w 1596260"/>
              <a:gd name="connsiteY7" fmla="*/ 376019 h 1919069"/>
              <a:gd name="connsiteX8" fmla="*/ 371475 w 1596260"/>
              <a:gd name="connsiteY8" fmla="*/ 1118 h 1919069"/>
              <a:gd name="connsiteX0" fmla="*/ 371475 w 1596260"/>
              <a:gd name="connsiteY0" fmla="*/ 1118 h 1946976"/>
              <a:gd name="connsiteX1" fmla="*/ 568075 w 1596260"/>
              <a:gd name="connsiteY1" fmla="*/ 602876 h 1946976"/>
              <a:gd name="connsiteX2" fmla="*/ 374089 w 1596260"/>
              <a:gd name="connsiteY2" fmla="*/ 646744 h 1946976"/>
              <a:gd name="connsiteX3" fmla="*/ 987445 w 1596260"/>
              <a:gd name="connsiteY3" fmla="*/ 1528815 h 1946976"/>
              <a:gd name="connsiteX4" fmla="*/ 1173048 w 1596260"/>
              <a:gd name="connsiteY4" fmla="*/ 1311482 h 1946976"/>
              <a:gd name="connsiteX5" fmla="*/ 1588662 w 1596260"/>
              <a:gd name="connsiteY5" fmla="*/ 1699723 h 1946976"/>
              <a:gd name="connsiteX6" fmla="*/ 1038225 w 1596260"/>
              <a:gd name="connsiteY6" fmla="*/ 1919069 h 1946976"/>
              <a:gd name="connsiteX7" fmla="*/ 0 w 1596260"/>
              <a:gd name="connsiteY7" fmla="*/ 376019 h 1946976"/>
              <a:gd name="connsiteX8" fmla="*/ 371475 w 1596260"/>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33976 w 1558761"/>
              <a:gd name="connsiteY0" fmla="*/ 1118 h 1946976"/>
              <a:gd name="connsiteX1" fmla="*/ 530576 w 1558761"/>
              <a:gd name="connsiteY1" fmla="*/ 602876 h 1946976"/>
              <a:gd name="connsiteX2" fmla="*/ 336590 w 1558761"/>
              <a:gd name="connsiteY2" fmla="*/ 646744 h 1946976"/>
              <a:gd name="connsiteX3" fmla="*/ 949946 w 1558761"/>
              <a:gd name="connsiteY3" fmla="*/ 1528815 h 1946976"/>
              <a:gd name="connsiteX4" fmla="*/ 1135549 w 1558761"/>
              <a:gd name="connsiteY4" fmla="*/ 1311482 h 1946976"/>
              <a:gd name="connsiteX5" fmla="*/ 1551163 w 1558761"/>
              <a:gd name="connsiteY5" fmla="*/ 1699723 h 1946976"/>
              <a:gd name="connsiteX6" fmla="*/ 1000726 w 1558761"/>
              <a:gd name="connsiteY6" fmla="*/ 1919069 h 1946976"/>
              <a:gd name="connsiteX7" fmla="*/ 0 w 1558761"/>
              <a:gd name="connsiteY7" fmla="*/ 390441 h 1946976"/>
              <a:gd name="connsiteX8" fmla="*/ 333976 w 1558761"/>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44260 w 1560662"/>
              <a:gd name="connsiteY2" fmla="*/ 655398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96 h 1946054"/>
              <a:gd name="connsiteX1" fmla="*/ 532477 w 1560662"/>
              <a:gd name="connsiteY1" fmla="*/ 601954 h 1946054"/>
              <a:gd name="connsiteX2" fmla="*/ 344260 w 1560662"/>
              <a:gd name="connsiteY2" fmla="*/ 654476 h 1946054"/>
              <a:gd name="connsiteX3" fmla="*/ 951847 w 1560662"/>
              <a:gd name="connsiteY3" fmla="*/ 1527893 h 1946054"/>
              <a:gd name="connsiteX4" fmla="*/ 1137450 w 1560662"/>
              <a:gd name="connsiteY4" fmla="*/ 1310560 h 1946054"/>
              <a:gd name="connsiteX5" fmla="*/ 1553064 w 1560662"/>
              <a:gd name="connsiteY5" fmla="*/ 1698801 h 1946054"/>
              <a:gd name="connsiteX6" fmla="*/ 1002627 w 1560662"/>
              <a:gd name="connsiteY6" fmla="*/ 1918147 h 1946054"/>
              <a:gd name="connsiteX7" fmla="*/ 1901 w 1560662"/>
              <a:gd name="connsiteY7" fmla="*/ 389519 h 1946054"/>
              <a:gd name="connsiteX8" fmla="*/ 335877 w 1560662"/>
              <a:gd name="connsiteY8" fmla="*/ 196 h 1946054"/>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5431"/>
              <a:gd name="connsiteY0" fmla="*/ 199 h 1937121"/>
              <a:gd name="connsiteX1" fmla="*/ 532477 w 1565431"/>
              <a:gd name="connsiteY1" fmla="*/ 593021 h 1937121"/>
              <a:gd name="connsiteX2" fmla="*/ 344260 w 1565431"/>
              <a:gd name="connsiteY2" fmla="*/ 645543 h 1937121"/>
              <a:gd name="connsiteX3" fmla="*/ 951847 w 1565431"/>
              <a:gd name="connsiteY3" fmla="*/ 1518960 h 1937121"/>
              <a:gd name="connsiteX4" fmla="*/ 1137450 w 1565431"/>
              <a:gd name="connsiteY4" fmla="*/ 1301627 h 1937121"/>
              <a:gd name="connsiteX5" fmla="*/ 1553064 w 1565431"/>
              <a:gd name="connsiteY5" fmla="*/ 1689868 h 1937121"/>
              <a:gd name="connsiteX6" fmla="*/ 1002627 w 1565431"/>
              <a:gd name="connsiteY6" fmla="*/ 1909214 h 1937121"/>
              <a:gd name="connsiteX7" fmla="*/ 1901 w 1565431"/>
              <a:gd name="connsiteY7" fmla="*/ 380586 h 1937121"/>
              <a:gd name="connsiteX8" fmla="*/ 332898 w 1565431"/>
              <a:gd name="connsiteY8" fmla="*/ 199 h 1937121"/>
              <a:gd name="connsiteX0" fmla="*/ 332898 w 1565431"/>
              <a:gd name="connsiteY0" fmla="*/ 199 h 1937121"/>
              <a:gd name="connsiteX1" fmla="*/ 532477 w 1565431"/>
              <a:gd name="connsiteY1" fmla="*/ 593021 h 1937121"/>
              <a:gd name="connsiteX2" fmla="*/ 344260 w 1565431"/>
              <a:gd name="connsiteY2" fmla="*/ 645543 h 1937121"/>
              <a:gd name="connsiteX3" fmla="*/ 951847 w 1565431"/>
              <a:gd name="connsiteY3" fmla="*/ 1518960 h 1937121"/>
              <a:gd name="connsiteX4" fmla="*/ 1137450 w 1565431"/>
              <a:gd name="connsiteY4" fmla="*/ 1301627 h 1937121"/>
              <a:gd name="connsiteX5" fmla="*/ 1553064 w 1565431"/>
              <a:gd name="connsiteY5" fmla="*/ 1689868 h 1937121"/>
              <a:gd name="connsiteX6" fmla="*/ 1002627 w 1565431"/>
              <a:gd name="connsiteY6" fmla="*/ 1909214 h 1937121"/>
              <a:gd name="connsiteX7" fmla="*/ 1901 w 1565431"/>
              <a:gd name="connsiteY7" fmla="*/ 380586 h 1937121"/>
              <a:gd name="connsiteX8" fmla="*/ 332898 w 1565431"/>
              <a:gd name="connsiteY8" fmla="*/ 199 h 193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431" h="1937121">
                <a:moveTo>
                  <a:pt x="332898" y="199"/>
                </a:moveTo>
                <a:cubicBezTo>
                  <a:pt x="480797" y="-12106"/>
                  <a:pt x="712130" y="551085"/>
                  <a:pt x="532477" y="593021"/>
                </a:cubicBezTo>
                <a:lnTo>
                  <a:pt x="344260" y="645543"/>
                </a:lnTo>
                <a:cubicBezTo>
                  <a:pt x="475639" y="1163599"/>
                  <a:pt x="690666" y="1300897"/>
                  <a:pt x="951847" y="1518960"/>
                </a:cubicBezTo>
                <a:cubicBezTo>
                  <a:pt x="1003138" y="1396518"/>
                  <a:pt x="1042046" y="1291100"/>
                  <a:pt x="1137450" y="1301627"/>
                </a:cubicBezTo>
                <a:cubicBezTo>
                  <a:pt x="1276950" y="1299313"/>
                  <a:pt x="1636332" y="1564228"/>
                  <a:pt x="1553064" y="1689868"/>
                </a:cubicBezTo>
                <a:cubicBezTo>
                  <a:pt x="1389777" y="1941825"/>
                  <a:pt x="1145722" y="1971673"/>
                  <a:pt x="1002627" y="1909214"/>
                </a:cubicBezTo>
                <a:cubicBezTo>
                  <a:pt x="545977" y="1690048"/>
                  <a:pt x="-37590" y="1110316"/>
                  <a:pt x="1901" y="380586"/>
                </a:cubicBezTo>
                <a:cubicBezTo>
                  <a:pt x="36305" y="148891"/>
                  <a:pt x="133416" y="23363"/>
                  <a:pt x="332898" y="199"/>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0" name="Teardrop 6">
            <a:extLst>
              <a:ext uri="{FF2B5EF4-FFF2-40B4-BE49-F238E27FC236}">
                <a16:creationId xmlns:a16="http://schemas.microsoft.com/office/drawing/2014/main" id="{3FF8E6D1-A5CA-4857-BFE4-E947E4F2F934}"/>
              </a:ext>
            </a:extLst>
          </p:cNvPr>
          <p:cNvSpPr/>
          <p:nvPr userDrawn="1"/>
        </p:nvSpPr>
        <p:spPr>
          <a:xfrm rot="8100000">
            <a:off x="1488149" y="1275248"/>
            <a:ext cx="311675" cy="31167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1" name="Block Arc 6">
            <a:extLst>
              <a:ext uri="{FF2B5EF4-FFF2-40B4-BE49-F238E27FC236}">
                <a16:creationId xmlns:a16="http://schemas.microsoft.com/office/drawing/2014/main" id="{62965521-2EFF-4BE9-866C-3D9369FA5C74}"/>
              </a:ext>
            </a:extLst>
          </p:cNvPr>
          <p:cNvSpPr/>
          <p:nvPr userDrawn="1"/>
        </p:nvSpPr>
        <p:spPr>
          <a:xfrm>
            <a:off x="4565463" y="1283949"/>
            <a:ext cx="355973" cy="348475"/>
          </a:xfrm>
          <a:custGeom>
            <a:avLst/>
            <a:gdLst>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734726 w 3221102"/>
              <a:gd name="connsiteY22" fmla="*/ 869255 h 3221116"/>
              <a:gd name="connsiteX23" fmla="*/ 1956122 w 3221102"/>
              <a:gd name="connsiteY23" fmla="*/ 1110076 h 3221116"/>
              <a:gd name="connsiteX24" fmla="*/ 1973374 w 3221102"/>
              <a:gd name="connsiteY24" fmla="*/ 875315 h 3221116"/>
              <a:gd name="connsiteX25" fmla="*/ 2333414 w 3221102"/>
              <a:gd name="connsiteY25" fmla="*/ 875315 h 3221116"/>
              <a:gd name="connsiteX26" fmla="*/ 2324788 w 3221102"/>
              <a:gd name="connsiteY26" fmla="*/ 2054049 h 3221116"/>
              <a:gd name="connsiteX27" fmla="*/ 2661746 w 3221102"/>
              <a:gd name="connsiteY27" fmla="*/ 2179658 h 3221116"/>
              <a:gd name="connsiteX28" fmla="*/ 2691046 w 3221102"/>
              <a:gd name="connsiteY28" fmla="*/ 2188689 h 3221116"/>
              <a:gd name="connsiteX29" fmla="*/ 2667011 w 3221102"/>
              <a:gd name="connsiteY29" fmla="*/ 2175828 h 3221116"/>
              <a:gd name="connsiteX30" fmla="*/ 2332141 w 3221102"/>
              <a:gd name="connsiteY30" fmla="*/ 653899 h 3221116"/>
              <a:gd name="connsiteX31" fmla="*/ 776764 w 3221102"/>
              <a:gd name="connsiteY31" fmla="*/ 749845 h 3221116"/>
              <a:gd name="connsiteX32" fmla="*/ 631487 w 3221102"/>
              <a:gd name="connsiteY32" fmla="*/ 2301392 h 3221116"/>
              <a:gd name="connsiteX33" fmla="*/ 2142017 w 3221102"/>
              <a:gd name="connsiteY33" fmla="*/ 2684410 h 3221116"/>
              <a:gd name="connsiteX34" fmla="*/ 2324866 w 3221102"/>
              <a:gd name="connsiteY34" fmla="*/ 3053856 h 3221116"/>
              <a:gd name="connsiteX35" fmla="*/ 294693 w 3221102"/>
              <a:gd name="connsiteY35" fmla="*/ 2539075 h 3221116"/>
              <a:gd name="connsiteX36" fmla="*/ 489947 w 3221102"/>
              <a:gd name="connsiteY36" fmla="*/ 453774 h 3221116"/>
              <a:gd name="connsiteX37" fmla="*/ 1651152 w 3221102"/>
              <a:gd name="connsiteY37"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734726 w 3221102"/>
              <a:gd name="connsiteY22" fmla="*/ 869255 h 3221116"/>
              <a:gd name="connsiteX23" fmla="*/ 1956122 w 3221102"/>
              <a:gd name="connsiteY23" fmla="*/ 1110076 h 3221116"/>
              <a:gd name="connsiteX24" fmla="*/ 1973374 w 3221102"/>
              <a:gd name="connsiteY24" fmla="*/ 875315 h 3221116"/>
              <a:gd name="connsiteX25" fmla="*/ 2333414 w 3221102"/>
              <a:gd name="connsiteY25" fmla="*/ 875315 h 3221116"/>
              <a:gd name="connsiteX26" fmla="*/ 2324788 w 3221102"/>
              <a:gd name="connsiteY26" fmla="*/ 2054049 h 3221116"/>
              <a:gd name="connsiteX27" fmla="*/ 2661746 w 3221102"/>
              <a:gd name="connsiteY27" fmla="*/ 2179658 h 3221116"/>
              <a:gd name="connsiteX28" fmla="*/ 2691046 w 3221102"/>
              <a:gd name="connsiteY28" fmla="*/ 2188689 h 3221116"/>
              <a:gd name="connsiteX29" fmla="*/ 2667011 w 3221102"/>
              <a:gd name="connsiteY29" fmla="*/ 2175828 h 3221116"/>
              <a:gd name="connsiteX30" fmla="*/ 2332141 w 3221102"/>
              <a:gd name="connsiteY30" fmla="*/ 653899 h 3221116"/>
              <a:gd name="connsiteX31" fmla="*/ 776764 w 3221102"/>
              <a:gd name="connsiteY31" fmla="*/ 749845 h 3221116"/>
              <a:gd name="connsiteX32" fmla="*/ 631487 w 3221102"/>
              <a:gd name="connsiteY32" fmla="*/ 2301392 h 3221116"/>
              <a:gd name="connsiteX33" fmla="*/ 2142017 w 3221102"/>
              <a:gd name="connsiteY33" fmla="*/ 2684410 h 3221116"/>
              <a:gd name="connsiteX34" fmla="*/ 2324866 w 3221102"/>
              <a:gd name="connsiteY34" fmla="*/ 3053856 h 3221116"/>
              <a:gd name="connsiteX35" fmla="*/ 294693 w 3221102"/>
              <a:gd name="connsiteY35" fmla="*/ 2539075 h 3221116"/>
              <a:gd name="connsiteX36" fmla="*/ 489947 w 3221102"/>
              <a:gd name="connsiteY36" fmla="*/ 453774 h 3221116"/>
              <a:gd name="connsiteX37" fmla="*/ 1651152 w 3221102"/>
              <a:gd name="connsiteY37"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151233"/>
              <a:gd name="connsiteY0" fmla="*/ 2175617 h 3221116"/>
              <a:gd name="connsiteX1" fmla="*/ 2658205 w 3151233"/>
              <a:gd name="connsiteY1" fmla="*/ 2178566 h 3221116"/>
              <a:gd name="connsiteX2" fmla="*/ 2664630 w 3151233"/>
              <a:gd name="connsiteY2" fmla="*/ 2175617 h 3221116"/>
              <a:gd name="connsiteX3" fmla="*/ 1477043 w 3151233"/>
              <a:gd name="connsiteY3" fmla="*/ 1144372 h 3221116"/>
              <a:gd name="connsiteX4" fmla="*/ 1409070 w 3151233"/>
              <a:gd name="connsiteY4" fmla="*/ 1159393 h 3221116"/>
              <a:gd name="connsiteX5" fmla="*/ 1152384 w 3151233"/>
              <a:gd name="connsiteY5" fmla="*/ 1703728 h 3221116"/>
              <a:gd name="connsiteX6" fmla="*/ 1514013 w 3151233"/>
              <a:gd name="connsiteY6" fmla="*/ 2152290 h 3221116"/>
              <a:gd name="connsiteX7" fmla="*/ 1850815 w 3151233"/>
              <a:gd name="connsiteY7" fmla="*/ 1654259 h 3221116"/>
              <a:gd name="connsiteX8" fmla="*/ 1830467 w 3151233"/>
              <a:gd name="connsiteY8" fmla="*/ 1515986 h 3221116"/>
              <a:gd name="connsiteX9" fmla="*/ 1477043 w 3151233"/>
              <a:gd name="connsiteY9" fmla="*/ 1144372 h 3221116"/>
              <a:gd name="connsiteX10" fmla="*/ 1651152 w 3151233"/>
              <a:gd name="connsiteY10" fmla="*/ 501 h 3221116"/>
              <a:gd name="connsiteX11" fmla="*/ 2580395 w 3151233"/>
              <a:gd name="connsiteY11" fmla="*/ 324821 h 3221116"/>
              <a:gd name="connsiteX12" fmla="*/ 3030464 w 3151233"/>
              <a:gd name="connsiteY12" fmla="*/ 2249544 h 3221116"/>
              <a:gd name="connsiteX13" fmla="*/ 2585849 w 3151233"/>
              <a:gd name="connsiteY13" fmla="*/ 2588887 h 3221116"/>
              <a:gd name="connsiteX14" fmla="*/ 1973374 w 3151233"/>
              <a:gd name="connsiteY14" fmla="*/ 2195096 h 3221116"/>
              <a:gd name="connsiteX15" fmla="*/ 1390827 w 3151233"/>
              <a:gd name="connsiteY15" fmla="*/ 2527630 h 3221116"/>
              <a:gd name="connsiteX16" fmla="*/ 783896 w 3151233"/>
              <a:gd name="connsiteY16" fmla="*/ 1665044 h 3221116"/>
              <a:gd name="connsiteX17" fmla="*/ 1268509 w 3151233"/>
              <a:gd name="connsiteY17" fmla="*/ 819983 h 3221116"/>
              <a:gd name="connsiteX18" fmla="*/ 1328805 w 3151233"/>
              <a:gd name="connsiteY18" fmla="*/ 807930 h 3221116"/>
              <a:gd name="connsiteX19" fmla="*/ 1390827 w 3151233"/>
              <a:gd name="connsiteY19" fmla="*/ 802457 h 3221116"/>
              <a:gd name="connsiteX20" fmla="*/ 1462242 w 3151233"/>
              <a:gd name="connsiteY20" fmla="*/ 801708 h 3221116"/>
              <a:gd name="connsiteX21" fmla="*/ 1956122 w 3151233"/>
              <a:gd name="connsiteY21" fmla="*/ 1110076 h 3221116"/>
              <a:gd name="connsiteX22" fmla="*/ 1973374 w 3151233"/>
              <a:gd name="connsiteY22" fmla="*/ 875315 h 3221116"/>
              <a:gd name="connsiteX23" fmla="*/ 2333414 w 3151233"/>
              <a:gd name="connsiteY23" fmla="*/ 875315 h 3221116"/>
              <a:gd name="connsiteX24" fmla="*/ 2324788 w 3151233"/>
              <a:gd name="connsiteY24" fmla="*/ 2054049 h 3221116"/>
              <a:gd name="connsiteX25" fmla="*/ 2661746 w 3151233"/>
              <a:gd name="connsiteY25" fmla="*/ 2179658 h 3221116"/>
              <a:gd name="connsiteX26" fmla="*/ 2691046 w 3151233"/>
              <a:gd name="connsiteY26" fmla="*/ 2188689 h 3221116"/>
              <a:gd name="connsiteX27" fmla="*/ 2667011 w 3151233"/>
              <a:gd name="connsiteY27" fmla="*/ 2175828 h 3221116"/>
              <a:gd name="connsiteX28" fmla="*/ 2332141 w 3151233"/>
              <a:gd name="connsiteY28" fmla="*/ 653899 h 3221116"/>
              <a:gd name="connsiteX29" fmla="*/ 776764 w 3151233"/>
              <a:gd name="connsiteY29" fmla="*/ 749845 h 3221116"/>
              <a:gd name="connsiteX30" fmla="*/ 631487 w 3151233"/>
              <a:gd name="connsiteY30" fmla="*/ 2301392 h 3221116"/>
              <a:gd name="connsiteX31" fmla="*/ 2142017 w 3151233"/>
              <a:gd name="connsiteY31" fmla="*/ 2684410 h 3221116"/>
              <a:gd name="connsiteX32" fmla="*/ 2324866 w 3151233"/>
              <a:gd name="connsiteY32" fmla="*/ 3053856 h 3221116"/>
              <a:gd name="connsiteX33" fmla="*/ 294693 w 3151233"/>
              <a:gd name="connsiteY33" fmla="*/ 2539075 h 3221116"/>
              <a:gd name="connsiteX34" fmla="*/ 489947 w 3151233"/>
              <a:gd name="connsiteY34" fmla="*/ 453774 h 3221116"/>
              <a:gd name="connsiteX35" fmla="*/ 1651152 w 3151233"/>
              <a:gd name="connsiteY35" fmla="*/ 501 h 3221116"/>
              <a:gd name="connsiteX0" fmla="*/ 2664630 w 3161851"/>
              <a:gd name="connsiteY0" fmla="*/ 2175617 h 3221116"/>
              <a:gd name="connsiteX1" fmla="*/ 2658205 w 3161851"/>
              <a:gd name="connsiteY1" fmla="*/ 2178566 h 3221116"/>
              <a:gd name="connsiteX2" fmla="*/ 2664630 w 3161851"/>
              <a:gd name="connsiteY2" fmla="*/ 2175617 h 3221116"/>
              <a:gd name="connsiteX3" fmla="*/ 1477043 w 3161851"/>
              <a:gd name="connsiteY3" fmla="*/ 1144372 h 3221116"/>
              <a:gd name="connsiteX4" fmla="*/ 1409070 w 3161851"/>
              <a:gd name="connsiteY4" fmla="*/ 1159393 h 3221116"/>
              <a:gd name="connsiteX5" fmla="*/ 1152384 w 3161851"/>
              <a:gd name="connsiteY5" fmla="*/ 1703728 h 3221116"/>
              <a:gd name="connsiteX6" fmla="*/ 1514013 w 3161851"/>
              <a:gd name="connsiteY6" fmla="*/ 2152290 h 3221116"/>
              <a:gd name="connsiteX7" fmla="*/ 1850815 w 3161851"/>
              <a:gd name="connsiteY7" fmla="*/ 1654259 h 3221116"/>
              <a:gd name="connsiteX8" fmla="*/ 1830467 w 3161851"/>
              <a:gd name="connsiteY8" fmla="*/ 1515986 h 3221116"/>
              <a:gd name="connsiteX9" fmla="*/ 1477043 w 3161851"/>
              <a:gd name="connsiteY9" fmla="*/ 1144372 h 3221116"/>
              <a:gd name="connsiteX10" fmla="*/ 1651152 w 3161851"/>
              <a:gd name="connsiteY10" fmla="*/ 501 h 3221116"/>
              <a:gd name="connsiteX11" fmla="*/ 2580395 w 3161851"/>
              <a:gd name="connsiteY11" fmla="*/ 324821 h 3221116"/>
              <a:gd name="connsiteX12" fmla="*/ 3030464 w 3161851"/>
              <a:gd name="connsiteY12" fmla="*/ 2249544 h 3221116"/>
              <a:gd name="connsiteX13" fmla="*/ 2585849 w 3161851"/>
              <a:gd name="connsiteY13" fmla="*/ 2588887 h 3221116"/>
              <a:gd name="connsiteX14" fmla="*/ 1973374 w 3161851"/>
              <a:gd name="connsiteY14" fmla="*/ 2195096 h 3221116"/>
              <a:gd name="connsiteX15" fmla="*/ 1390827 w 3161851"/>
              <a:gd name="connsiteY15" fmla="*/ 2527630 h 3221116"/>
              <a:gd name="connsiteX16" fmla="*/ 783896 w 3161851"/>
              <a:gd name="connsiteY16" fmla="*/ 1665044 h 3221116"/>
              <a:gd name="connsiteX17" fmla="*/ 1268509 w 3161851"/>
              <a:gd name="connsiteY17" fmla="*/ 819983 h 3221116"/>
              <a:gd name="connsiteX18" fmla="*/ 1328805 w 3161851"/>
              <a:gd name="connsiteY18" fmla="*/ 807930 h 3221116"/>
              <a:gd name="connsiteX19" fmla="*/ 1390827 w 3161851"/>
              <a:gd name="connsiteY19" fmla="*/ 802457 h 3221116"/>
              <a:gd name="connsiteX20" fmla="*/ 1462242 w 3161851"/>
              <a:gd name="connsiteY20" fmla="*/ 801708 h 3221116"/>
              <a:gd name="connsiteX21" fmla="*/ 1956122 w 3161851"/>
              <a:gd name="connsiteY21" fmla="*/ 1110076 h 3221116"/>
              <a:gd name="connsiteX22" fmla="*/ 1973374 w 3161851"/>
              <a:gd name="connsiteY22" fmla="*/ 875315 h 3221116"/>
              <a:gd name="connsiteX23" fmla="*/ 2333414 w 3161851"/>
              <a:gd name="connsiteY23" fmla="*/ 875315 h 3221116"/>
              <a:gd name="connsiteX24" fmla="*/ 2324788 w 3161851"/>
              <a:gd name="connsiteY24" fmla="*/ 2054049 h 3221116"/>
              <a:gd name="connsiteX25" fmla="*/ 2661746 w 3161851"/>
              <a:gd name="connsiteY25" fmla="*/ 2179658 h 3221116"/>
              <a:gd name="connsiteX26" fmla="*/ 2691046 w 3161851"/>
              <a:gd name="connsiteY26" fmla="*/ 2188689 h 3221116"/>
              <a:gd name="connsiteX27" fmla="*/ 2667011 w 3161851"/>
              <a:gd name="connsiteY27" fmla="*/ 2175828 h 3221116"/>
              <a:gd name="connsiteX28" fmla="*/ 2332141 w 3161851"/>
              <a:gd name="connsiteY28" fmla="*/ 653899 h 3221116"/>
              <a:gd name="connsiteX29" fmla="*/ 776764 w 3161851"/>
              <a:gd name="connsiteY29" fmla="*/ 749845 h 3221116"/>
              <a:gd name="connsiteX30" fmla="*/ 631487 w 3161851"/>
              <a:gd name="connsiteY30" fmla="*/ 2301392 h 3221116"/>
              <a:gd name="connsiteX31" fmla="*/ 2142017 w 3161851"/>
              <a:gd name="connsiteY31" fmla="*/ 2684410 h 3221116"/>
              <a:gd name="connsiteX32" fmla="*/ 2324866 w 3161851"/>
              <a:gd name="connsiteY32" fmla="*/ 3053856 h 3221116"/>
              <a:gd name="connsiteX33" fmla="*/ 294693 w 3161851"/>
              <a:gd name="connsiteY33" fmla="*/ 2539075 h 3221116"/>
              <a:gd name="connsiteX34" fmla="*/ 489947 w 3161851"/>
              <a:gd name="connsiteY34" fmla="*/ 453774 h 3221116"/>
              <a:gd name="connsiteX35" fmla="*/ 1651152 w 3161851"/>
              <a:gd name="connsiteY35" fmla="*/ 501 h 3221116"/>
              <a:gd name="connsiteX0" fmla="*/ 2664630 w 3182629"/>
              <a:gd name="connsiteY0" fmla="*/ 2175617 h 3221116"/>
              <a:gd name="connsiteX1" fmla="*/ 2658205 w 3182629"/>
              <a:gd name="connsiteY1" fmla="*/ 2178566 h 3221116"/>
              <a:gd name="connsiteX2" fmla="*/ 2664630 w 3182629"/>
              <a:gd name="connsiteY2" fmla="*/ 2175617 h 3221116"/>
              <a:gd name="connsiteX3" fmla="*/ 1477043 w 3182629"/>
              <a:gd name="connsiteY3" fmla="*/ 1144372 h 3221116"/>
              <a:gd name="connsiteX4" fmla="*/ 1409070 w 3182629"/>
              <a:gd name="connsiteY4" fmla="*/ 1159393 h 3221116"/>
              <a:gd name="connsiteX5" fmla="*/ 1152384 w 3182629"/>
              <a:gd name="connsiteY5" fmla="*/ 1703728 h 3221116"/>
              <a:gd name="connsiteX6" fmla="*/ 1514013 w 3182629"/>
              <a:gd name="connsiteY6" fmla="*/ 2152290 h 3221116"/>
              <a:gd name="connsiteX7" fmla="*/ 1850815 w 3182629"/>
              <a:gd name="connsiteY7" fmla="*/ 1654259 h 3221116"/>
              <a:gd name="connsiteX8" fmla="*/ 1830467 w 3182629"/>
              <a:gd name="connsiteY8" fmla="*/ 1515986 h 3221116"/>
              <a:gd name="connsiteX9" fmla="*/ 1477043 w 3182629"/>
              <a:gd name="connsiteY9" fmla="*/ 1144372 h 3221116"/>
              <a:gd name="connsiteX10" fmla="*/ 1651152 w 3182629"/>
              <a:gd name="connsiteY10" fmla="*/ 501 h 3221116"/>
              <a:gd name="connsiteX11" fmla="*/ 2580395 w 3182629"/>
              <a:gd name="connsiteY11" fmla="*/ 324821 h 3221116"/>
              <a:gd name="connsiteX12" fmla="*/ 3030464 w 3182629"/>
              <a:gd name="connsiteY12" fmla="*/ 2249544 h 3221116"/>
              <a:gd name="connsiteX13" fmla="*/ 2585849 w 3182629"/>
              <a:gd name="connsiteY13" fmla="*/ 2588887 h 3221116"/>
              <a:gd name="connsiteX14" fmla="*/ 1973374 w 3182629"/>
              <a:gd name="connsiteY14" fmla="*/ 2195096 h 3221116"/>
              <a:gd name="connsiteX15" fmla="*/ 1390827 w 3182629"/>
              <a:gd name="connsiteY15" fmla="*/ 2527630 h 3221116"/>
              <a:gd name="connsiteX16" fmla="*/ 783896 w 3182629"/>
              <a:gd name="connsiteY16" fmla="*/ 1665044 h 3221116"/>
              <a:gd name="connsiteX17" fmla="*/ 1268509 w 3182629"/>
              <a:gd name="connsiteY17" fmla="*/ 819983 h 3221116"/>
              <a:gd name="connsiteX18" fmla="*/ 1328805 w 3182629"/>
              <a:gd name="connsiteY18" fmla="*/ 807930 h 3221116"/>
              <a:gd name="connsiteX19" fmla="*/ 1390827 w 3182629"/>
              <a:gd name="connsiteY19" fmla="*/ 802457 h 3221116"/>
              <a:gd name="connsiteX20" fmla="*/ 1462242 w 3182629"/>
              <a:gd name="connsiteY20" fmla="*/ 801708 h 3221116"/>
              <a:gd name="connsiteX21" fmla="*/ 1956122 w 3182629"/>
              <a:gd name="connsiteY21" fmla="*/ 1110076 h 3221116"/>
              <a:gd name="connsiteX22" fmla="*/ 1973374 w 3182629"/>
              <a:gd name="connsiteY22" fmla="*/ 875315 h 3221116"/>
              <a:gd name="connsiteX23" fmla="*/ 2333414 w 3182629"/>
              <a:gd name="connsiteY23" fmla="*/ 875315 h 3221116"/>
              <a:gd name="connsiteX24" fmla="*/ 2324788 w 3182629"/>
              <a:gd name="connsiteY24" fmla="*/ 2054049 h 3221116"/>
              <a:gd name="connsiteX25" fmla="*/ 2661746 w 3182629"/>
              <a:gd name="connsiteY25" fmla="*/ 2179658 h 3221116"/>
              <a:gd name="connsiteX26" fmla="*/ 2691046 w 3182629"/>
              <a:gd name="connsiteY26" fmla="*/ 2188689 h 3221116"/>
              <a:gd name="connsiteX27" fmla="*/ 2667011 w 3182629"/>
              <a:gd name="connsiteY27" fmla="*/ 2175828 h 3221116"/>
              <a:gd name="connsiteX28" fmla="*/ 2332141 w 3182629"/>
              <a:gd name="connsiteY28" fmla="*/ 653899 h 3221116"/>
              <a:gd name="connsiteX29" fmla="*/ 776764 w 3182629"/>
              <a:gd name="connsiteY29" fmla="*/ 749845 h 3221116"/>
              <a:gd name="connsiteX30" fmla="*/ 631487 w 3182629"/>
              <a:gd name="connsiteY30" fmla="*/ 2301392 h 3221116"/>
              <a:gd name="connsiteX31" fmla="*/ 2142017 w 3182629"/>
              <a:gd name="connsiteY31" fmla="*/ 2684410 h 3221116"/>
              <a:gd name="connsiteX32" fmla="*/ 2324866 w 3182629"/>
              <a:gd name="connsiteY32" fmla="*/ 3053856 h 3221116"/>
              <a:gd name="connsiteX33" fmla="*/ 294693 w 3182629"/>
              <a:gd name="connsiteY33" fmla="*/ 2539075 h 3221116"/>
              <a:gd name="connsiteX34" fmla="*/ 489947 w 3182629"/>
              <a:gd name="connsiteY34" fmla="*/ 453774 h 3221116"/>
              <a:gd name="connsiteX35" fmla="*/ 1651152 w 3182629"/>
              <a:gd name="connsiteY35" fmla="*/ 501 h 3221116"/>
              <a:gd name="connsiteX0" fmla="*/ 2664630 w 3189723"/>
              <a:gd name="connsiteY0" fmla="*/ 2175617 h 3221116"/>
              <a:gd name="connsiteX1" fmla="*/ 2658205 w 3189723"/>
              <a:gd name="connsiteY1" fmla="*/ 2178566 h 3221116"/>
              <a:gd name="connsiteX2" fmla="*/ 2664630 w 3189723"/>
              <a:gd name="connsiteY2" fmla="*/ 2175617 h 3221116"/>
              <a:gd name="connsiteX3" fmla="*/ 1477043 w 3189723"/>
              <a:gd name="connsiteY3" fmla="*/ 1144372 h 3221116"/>
              <a:gd name="connsiteX4" fmla="*/ 1409070 w 3189723"/>
              <a:gd name="connsiteY4" fmla="*/ 1159393 h 3221116"/>
              <a:gd name="connsiteX5" fmla="*/ 1152384 w 3189723"/>
              <a:gd name="connsiteY5" fmla="*/ 1703728 h 3221116"/>
              <a:gd name="connsiteX6" fmla="*/ 1514013 w 3189723"/>
              <a:gd name="connsiteY6" fmla="*/ 2152290 h 3221116"/>
              <a:gd name="connsiteX7" fmla="*/ 1850815 w 3189723"/>
              <a:gd name="connsiteY7" fmla="*/ 1654259 h 3221116"/>
              <a:gd name="connsiteX8" fmla="*/ 1830467 w 3189723"/>
              <a:gd name="connsiteY8" fmla="*/ 1515986 h 3221116"/>
              <a:gd name="connsiteX9" fmla="*/ 1477043 w 3189723"/>
              <a:gd name="connsiteY9" fmla="*/ 1144372 h 3221116"/>
              <a:gd name="connsiteX10" fmla="*/ 1651152 w 3189723"/>
              <a:gd name="connsiteY10" fmla="*/ 501 h 3221116"/>
              <a:gd name="connsiteX11" fmla="*/ 2580395 w 3189723"/>
              <a:gd name="connsiteY11" fmla="*/ 324821 h 3221116"/>
              <a:gd name="connsiteX12" fmla="*/ 3030464 w 3189723"/>
              <a:gd name="connsiteY12" fmla="*/ 2249544 h 3221116"/>
              <a:gd name="connsiteX13" fmla="*/ 2585849 w 3189723"/>
              <a:gd name="connsiteY13" fmla="*/ 2588887 h 3221116"/>
              <a:gd name="connsiteX14" fmla="*/ 1973374 w 3189723"/>
              <a:gd name="connsiteY14" fmla="*/ 2195096 h 3221116"/>
              <a:gd name="connsiteX15" fmla="*/ 1390827 w 3189723"/>
              <a:gd name="connsiteY15" fmla="*/ 2527630 h 3221116"/>
              <a:gd name="connsiteX16" fmla="*/ 783896 w 3189723"/>
              <a:gd name="connsiteY16" fmla="*/ 1665044 h 3221116"/>
              <a:gd name="connsiteX17" fmla="*/ 1268509 w 3189723"/>
              <a:gd name="connsiteY17" fmla="*/ 819983 h 3221116"/>
              <a:gd name="connsiteX18" fmla="*/ 1328805 w 3189723"/>
              <a:gd name="connsiteY18" fmla="*/ 807930 h 3221116"/>
              <a:gd name="connsiteX19" fmla="*/ 1390827 w 3189723"/>
              <a:gd name="connsiteY19" fmla="*/ 802457 h 3221116"/>
              <a:gd name="connsiteX20" fmla="*/ 1462242 w 3189723"/>
              <a:gd name="connsiteY20" fmla="*/ 801708 h 3221116"/>
              <a:gd name="connsiteX21" fmla="*/ 1956122 w 3189723"/>
              <a:gd name="connsiteY21" fmla="*/ 1110076 h 3221116"/>
              <a:gd name="connsiteX22" fmla="*/ 1973374 w 3189723"/>
              <a:gd name="connsiteY22" fmla="*/ 875315 h 3221116"/>
              <a:gd name="connsiteX23" fmla="*/ 2333414 w 3189723"/>
              <a:gd name="connsiteY23" fmla="*/ 875315 h 3221116"/>
              <a:gd name="connsiteX24" fmla="*/ 2324788 w 3189723"/>
              <a:gd name="connsiteY24" fmla="*/ 2054049 h 3221116"/>
              <a:gd name="connsiteX25" fmla="*/ 2661746 w 3189723"/>
              <a:gd name="connsiteY25" fmla="*/ 2179658 h 3221116"/>
              <a:gd name="connsiteX26" fmla="*/ 2691046 w 3189723"/>
              <a:gd name="connsiteY26" fmla="*/ 2188689 h 3221116"/>
              <a:gd name="connsiteX27" fmla="*/ 2667011 w 3189723"/>
              <a:gd name="connsiteY27" fmla="*/ 2175828 h 3221116"/>
              <a:gd name="connsiteX28" fmla="*/ 2332141 w 3189723"/>
              <a:gd name="connsiteY28" fmla="*/ 653899 h 3221116"/>
              <a:gd name="connsiteX29" fmla="*/ 776764 w 3189723"/>
              <a:gd name="connsiteY29" fmla="*/ 749845 h 3221116"/>
              <a:gd name="connsiteX30" fmla="*/ 631487 w 3189723"/>
              <a:gd name="connsiteY30" fmla="*/ 2301392 h 3221116"/>
              <a:gd name="connsiteX31" fmla="*/ 2142017 w 3189723"/>
              <a:gd name="connsiteY31" fmla="*/ 2684410 h 3221116"/>
              <a:gd name="connsiteX32" fmla="*/ 2324866 w 3189723"/>
              <a:gd name="connsiteY32" fmla="*/ 3053856 h 3221116"/>
              <a:gd name="connsiteX33" fmla="*/ 294693 w 3189723"/>
              <a:gd name="connsiteY33" fmla="*/ 2539075 h 3221116"/>
              <a:gd name="connsiteX34" fmla="*/ 489947 w 3189723"/>
              <a:gd name="connsiteY34" fmla="*/ 453774 h 3221116"/>
              <a:gd name="connsiteX35" fmla="*/ 1651152 w 3189723"/>
              <a:gd name="connsiteY35" fmla="*/ 501 h 32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89723" h="3221116">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100" name="Group 99"/>
          <p:cNvGrpSpPr/>
          <p:nvPr userDrawn="1"/>
        </p:nvGrpSpPr>
        <p:grpSpPr>
          <a:xfrm rot="10800000" flipH="1">
            <a:off x="536418" y="1851977"/>
            <a:ext cx="1035208" cy="372301"/>
            <a:chOff x="5620124" y="3509549"/>
            <a:chExt cx="1035208" cy="372301"/>
          </a:xfrm>
        </p:grpSpPr>
        <p:grpSp>
          <p:nvGrpSpPr>
            <p:cNvPr id="101" name="Group 100"/>
            <p:cNvGrpSpPr/>
            <p:nvPr userDrawn="1"/>
          </p:nvGrpSpPr>
          <p:grpSpPr>
            <a:xfrm>
              <a:off x="5822793" y="3509549"/>
              <a:ext cx="825657" cy="105601"/>
              <a:chOff x="5822793" y="3509549"/>
              <a:chExt cx="825657" cy="105601"/>
            </a:xfrm>
          </p:grpSpPr>
          <p:cxnSp>
            <p:nvCxnSpPr>
              <p:cNvPr id="111" name="Straight Connector 110"/>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2" name="Group 101"/>
            <p:cNvGrpSpPr/>
            <p:nvPr userDrawn="1"/>
          </p:nvGrpSpPr>
          <p:grpSpPr>
            <a:xfrm>
              <a:off x="5620124" y="3598449"/>
              <a:ext cx="1028326" cy="105601"/>
              <a:chOff x="5620124" y="3598449"/>
              <a:chExt cx="1028326" cy="105601"/>
            </a:xfrm>
          </p:grpSpPr>
          <p:cxnSp>
            <p:nvCxnSpPr>
              <p:cNvPr id="109" name="Straight Connector 108"/>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110" name="Rectangle 10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3" name="Group 102"/>
            <p:cNvGrpSpPr/>
            <p:nvPr userDrawn="1"/>
          </p:nvGrpSpPr>
          <p:grpSpPr>
            <a:xfrm>
              <a:off x="5905875" y="3687349"/>
              <a:ext cx="742575" cy="105601"/>
              <a:chOff x="5905875" y="3687349"/>
              <a:chExt cx="742575" cy="105601"/>
            </a:xfrm>
          </p:grpSpPr>
          <p:cxnSp>
            <p:nvCxnSpPr>
              <p:cNvPr id="107" name="Straight Connector 106"/>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108" name="Rectangle 107"/>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4" name="Group 103"/>
            <p:cNvGrpSpPr/>
            <p:nvPr userDrawn="1"/>
          </p:nvGrpSpPr>
          <p:grpSpPr>
            <a:xfrm>
              <a:off x="6056779" y="3776249"/>
              <a:ext cx="598553" cy="105601"/>
              <a:chOff x="6056779" y="3776249"/>
              <a:chExt cx="598553" cy="105601"/>
            </a:xfrm>
          </p:grpSpPr>
          <p:cxnSp>
            <p:nvCxnSpPr>
              <p:cNvPr id="105" name="Straight Connector 104"/>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106" name="Rectangle 105"/>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113" name="Group 112"/>
          <p:cNvGrpSpPr/>
          <p:nvPr userDrawn="1"/>
        </p:nvGrpSpPr>
        <p:grpSpPr>
          <a:xfrm rot="10800000">
            <a:off x="1643988" y="1904778"/>
            <a:ext cx="4369814" cy="266700"/>
            <a:chOff x="5683781" y="3562350"/>
            <a:chExt cx="971552" cy="266700"/>
          </a:xfrm>
        </p:grpSpPr>
        <p:cxnSp>
          <p:nvCxnSpPr>
            <p:cNvPr id="124" name="Straight Connector 123"/>
            <p:cNvCxnSpPr/>
            <p:nvPr userDrawn="1"/>
          </p:nvCxnSpPr>
          <p:spPr>
            <a:xfrm>
              <a:off x="5931433"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a:xfrm>
              <a:off x="5683781"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a:off x="5931432"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grpSp>
      <p:pic>
        <p:nvPicPr>
          <p:cNvPr id="2" name="Картина 1">
            <a:extLst>
              <a:ext uri="{FF2B5EF4-FFF2-40B4-BE49-F238E27FC236}">
                <a16:creationId xmlns:a16="http://schemas.microsoft.com/office/drawing/2014/main" id="{0CAF7B66-DFB0-E73E-55BB-2712472839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1198" y="6379144"/>
            <a:ext cx="1792069" cy="396000"/>
          </a:xfrm>
          <a:prstGeom prst="rect">
            <a:avLst/>
          </a:prstGeom>
        </p:spPr>
      </p:pic>
    </p:spTree>
    <p:extLst>
      <p:ext uri="{BB962C8B-B14F-4D97-AF65-F5344CB8AC3E}">
        <p14:creationId xmlns:p14="http://schemas.microsoft.com/office/powerpoint/2010/main" val="3706597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4" name="Title 7"/>
          <p:cNvSpPr>
            <a:spLocks noGrp="1"/>
          </p:cNvSpPr>
          <p:nvPr>
            <p:ph type="title"/>
          </p:nvPr>
        </p:nvSpPr>
        <p:spPr>
          <a:xfrm>
            <a:off x="2311408" y="245022"/>
            <a:ext cx="9105807" cy="688196"/>
          </a:xfrm>
          <a:prstGeom prst="rect">
            <a:avLst/>
          </a:prstGeom>
        </p:spPr>
        <p:txBody>
          <a:bodyPr>
            <a:normAutofit/>
          </a:bodyPr>
          <a:lstStyle>
            <a:lvl1pPr>
              <a:defRPr sz="2177" b="1">
                <a:solidFill>
                  <a:schemeClr val="accent3"/>
                </a:solidFill>
              </a:defRPr>
            </a:lvl1pPr>
          </a:lstStyle>
          <a:p>
            <a:r>
              <a:rPr lang="en-US" dirty="0"/>
              <a:t>Click to edit Master title style</a:t>
            </a:r>
            <a:endParaRPr lang="bg-BG" dirty="0"/>
          </a:p>
        </p:txBody>
      </p:sp>
      <p:sp>
        <p:nvSpPr>
          <p:cNvPr id="12" name="Slide Number Placeholder 5"/>
          <p:cNvSpPr>
            <a:spLocks noGrp="1"/>
          </p:cNvSpPr>
          <p:nvPr>
            <p:ph type="sldNum" sz="quarter" idx="4"/>
          </p:nvPr>
        </p:nvSpPr>
        <p:spPr>
          <a:xfrm>
            <a:off x="11614531" y="6464644"/>
            <a:ext cx="577468" cy="365125"/>
          </a:xfrm>
          <a:prstGeom prst="rect">
            <a:avLst/>
          </a:prstGeom>
        </p:spPr>
        <p:txBody>
          <a:bodyPr vert="horz" lIns="91440" tIns="45720" rIns="91440" bIns="45720" rtlCol="0" anchor="ctr"/>
          <a:lstStyle>
            <a:lvl1pPr algn="ctr">
              <a:defRPr sz="1200">
                <a:solidFill>
                  <a:schemeClr val="bg1"/>
                </a:solidFill>
              </a:defRPr>
            </a:lvl1pPr>
          </a:lstStyle>
          <a:p>
            <a:fld id="{DE3AA45F-980D-4F34-ABAD-1E35E3E654A8}" type="slidenum">
              <a:rPr lang="bg-BG" smtClean="0"/>
              <a:pPr/>
              <a:t>‹#›</a:t>
            </a:fld>
            <a:endParaRPr lang="bg-BG" dirty="0"/>
          </a:p>
        </p:txBody>
      </p:sp>
      <p:sp>
        <p:nvSpPr>
          <p:cNvPr id="14" name="Text Placeholder 7"/>
          <p:cNvSpPr>
            <a:spLocks noGrp="1"/>
          </p:cNvSpPr>
          <p:nvPr>
            <p:ph type="body" sz="quarter" idx="14"/>
          </p:nvPr>
        </p:nvSpPr>
        <p:spPr>
          <a:xfrm>
            <a:off x="2311409" y="6301517"/>
            <a:ext cx="8137050" cy="298111"/>
          </a:xfrm>
          <a:prstGeom prst="rect">
            <a:avLst/>
          </a:prstGeom>
        </p:spPr>
        <p:txBody>
          <a:bodyPr>
            <a:normAutofit/>
          </a:bodyPr>
          <a:lstStyle>
            <a:lvl1pPr marL="0" indent="0">
              <a:buNone/>
              <a:defRPr sz="1270" i="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249830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5" name="Title 4"/>
          <p:cNvSpPr>
            <a:spLocks noGrp="1"/>
          </p:cNvSpPr>
          <p:nvPr>
            <p:ph type="title"/>
          </p:nvPr>
        </p:nvSpPr>
        <p:spPr>
          <a:xfrm>
            <a:off x="2552700" y="2265362"/>
            <a:ext cx="8658225" cy="3449638"/>
          </a:xfrm>
          <a:prstGeom prst="rect">
            <a:avLst/>
          </a:prstGeom>
        </p:spPr>
        <p:txBody>
          <a:bodyPr/>
          <a:lstStyle>
            <a:lvl1pPr>
              <a:defRPr sz="4000" b="1"/>
            </a:lvl1pPr>
          </a:lstStyle>
          <a:p>
            <a:endParaRPr lang="bg-BG" dirty="0"/>
          </a:p>
        </p:txBody>
      </p:sp>
      <p:grpSp>
        <p:nvGrpSpPr>
          <p:cNvPr id="20" name="Group 19"/>
          <p:cNvGrpSpPr/>
          <p:nvPr userDrawn="1"/>
        </p:nvGrpSpPr>
        <p:grpSpPr>
          <a:xfrm>
            <a:off x="11147093" y="5766147"/>
            <a:ext cx="1035208" cy="372301"/>
            <a:chOff x="5620124" y="3509549"/>
            <a:chExt cx="1035208" cy="372301"/>
          </a:xfrm>
        </p:grpSpPr>
        <p:grpSp>
          <p:nvGrpSpPr>
            <p:cNvPr id="21" name="Group 20"/>
            <p:cNvGrpSpPr/>
            <p:nvPr userDrawn="1"/>
          </p:nvGrpSpPr>
          <p:grpSpPr>
            <a:xfrm>
              <a:off x="5822793" y="3509549"/>
              <a:ext cx="825657" cy="105601"/>
              <a:chOff x="5822793" y="3509549"/>
              <a:chExt cx="825657" cy="105601"/>
            </a:xfrm>
          </p:grpSpPr>
          <p:cxnSp>
            <p:nvCxnSpPr>
              <p:cNvPr id="31" name="Straight Connector 30"/>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620124" y="3598449"/>
              <a:ext cx="1028326" cy="105601"/>
              <a:chOff x="5620124" y="3598449"/>
              <a:chExt cx="1028326" cy="105601"/>
            </a:xfrm>
          </p:grpSpPr>
          <p:cxnSp>
            <p:nvCxnSpPr>
              <p:cNvPr id="29" name="Straight Connector 28"/>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3" name="Group 22"/>
            <p:cNvGrpSpPr/>
            <p:nvPr userDrawn="1"/>
          </p:nvGrpSpPr>
          <p:grpSpPr>
            <a:xfrm>
              <a:off x="5905875" y="3687349"/>
              <a:ext cx="742575" cy="105601"/>
              <a:chOff x="5905875" y="3687349"/>
              <a:chExt cx="742575" cy="105601"/>
            </a:xfrm>
          </p:grpSpPr>
          <p:cxnSp>
            <p:nvCxnSpPr>
              <p:cNvPr id="27" name="Straight Connector 26"/>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25" name="Straight Connector 24"/>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pic>
        <p:nvPicPr>
          <p:cNvPr id="2" name="Картина 1">
            <a:extLst>
              <a:ext uri="{FF2B5EF4-FFF2-40B4-BE49-F238E27FC236}">
                <a16:creationId xmlns:a16="http://schemas.microsoft.com/office/drawing/2014/main" id="{004BCAFB-26A3-B52E-3041-228B7F5829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7674" y="5327076"/>
            <a:ext cx="903159" cy="928247"/>
          </a:xfrm>
          <a:prstGeom prst="rect">
            <a:avLst/>
          </a:prstGeom>
        </p:spPr>
      </p:pic>
    </p:spTree>
    <p:extLst>
      <p:ext uri="{BB962C8B-B14F-4D97-AF65-F5344CB8AC3E}">
        <p14:creationId xmlns:p14="http://schemas.microsoft.com/office/powerpoint/2010/main" val="22322799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Title 8"/>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29" name="Контейнер за картина 2">
            <a:extLst>
              <a:ext uri="{FF2B5EF4-FFF2-40B4-BE49-F238E27FC236}">
                <a16:creationId xmlns:a16="http://schemas.microsoft.com/office/drawing/2014/main" id="{EA3E5553-7D34-41F2-9119-2B75F2DFA64B}"/>
              </a:ext>
            </a:extLst>
          </p:cNvPr>
          <p:cNvSpPr>
            <a:spLocks noGrp="1"/>
          </p:cNvSpPr>
          <p:nvPr>
            <p:ph type="pic" sz="quarter" idx="12" hasCustomPrompt="1"/>
          </p:nvPr>
        </p:nvSpPr>
        <p:spPr>
          <a:xfrm>
            <a:off x="47625" y="5172075"/>
            <a:ext cx="1890713" cy="1058864"/>
          </a:xfrm>
          <a:prstGeom prst="rect">
            <a:avLst/>
          </a:prstGeom>
        </p:spPr>
        <p:txBody>
          <a:bodyPr/>
          <a:lstStyle/>
          <a:p>
            <a:r>
              <a:rPr lang="bg-BG" dirty="0"/>
              <a:t>Лого</a:t>
            </a:r>
          </a:p>
        </p:txBody>
      </p:sp>
    </p:spTree>
    <p:extLst>
      <p:ext uri="{BB962C8B-B14F-4D97-AF65-F5344CB8AC3E}">
        <p14:creationId xmlns:p14="http://schemas.microsoft.com/office/powerpoint/2010/main" val="461954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723426" y="6485910"/>
            <a:ext cx="411423"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13" name="Text Placeholder 12"/>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
        <p:nvSpPr>
          <p:cNvPr id="15" name="Text Placeholder 14"/>
          <p:cNvSpPr>
            <a:spLocks noGrp="1"/>
          </p:cNvSpPr>
          <p:nvPr>
            <p:ph type="body" sz="quarter" idx="14"/>
          </p:nvPr>
        </p:nvSpPr>
        <p:spPr>
          <a:xfrm>
            <a:off x="2043541" y="1281112"/>
            <a:ext cx="9664899" cy="5005387"/>
          </a:xfrm>
          <a:prstGeom prst="rect">
            <a:avLst/>
          </a:prstGeom>
        </p:spPr>
        <p:txBody>
          <a:bodyPr/>
          <a:lstStyle>
            <a:lvl1pPr>
              <a:defRPr sz="1600">
                <a:solidFill>
                  <a:schemeClr val="tx1"/>
                </a:solidFill>
              </a:defRPr>
            </a:lvl1pPr>
          </a:lstStyle>
          <a:p>
            <a:pPr lvl="0"/>
            <a:endParaRPr lang="en-US" dirty="0"/>
          </a:p>
        </p:txBody>
      </p:sp>
      <p:sp>
        <p:nvSpPr>
          <p:cNvPr id="30" name="Контейнер за картина 2">
            <a:extLst>
              <a:ext uri="{FF2B5EF4-FFF2-40B4-BE49-F238E27FC236}">
                <a16:creationId xmlns:a16="http://schemas.microsoft.com/office/drawing/2014/main" id="{274F9D26-DEA6-437D-AB10-C33743E0D198}"/>
              </a:ext>
            </a:extLst>
          </p:cNvPr>
          <p:cNvSpPr>
            <a:spLocks noGrp="1"/>
          </p:cNvSpPr>
          <p:nvPr>
            <p:ph type="pic" sz="quarter" idx="12" hasCustomPrompt="1"/>
          </p:nvPr>
        </p:nvSpPr>
        <p:spPr>
          <a:xfrm>
            <a:off x="47625" y="5172075"/>
            <a:ext cx="1890713" cy="1058864"/>
          </a:xfrm>
          <a:prstGeom prst="rect">
            <a:avLst/>
          </a:prstGeom>
        </p:spPr>
        <p:txBody>
          <a:bodyPr/>
          <a:lstStyle/>
          <a:p>
            <a:r>
              <a:rPr lang="bg-BG" dirty="0"/>
              <a:t>Лого</a:t>
            </a:r>
          </a:p>
        </p:txBody>
      </p:sp>
      <p:sp>
        <p:nvSpPr>
          <p:cNvPr id="31" name="Title 8">
            <a:extLst>
              <a:ext uri="{FF2B5EF4-FFF2-40B4-BE49-F238E27FC236}">
                <a16:creationId xmlns:a16="http://schemas.microsoft.com/office/drawing/2014/main" id="{FDF15A76-E667-4D17-B1AD-58AEC3E056D4}"/>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Tree>
    <p:extLst>
      <p:ext uri="{BB962C8B-B14F-4D97-AF65-F5344CB8AC3E}">
        <p14:creationId xmlns:p14="http://schemas.microsoft.com/office/powerpoint/2010/main" val="21963222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8" name="Rectangle 25">
            <a:extLst>
              <a:ext uri="{FF2B5EF4-FFF2-40B4-BE49-F238E27FC236}">
                <a16:creationId xmlns:a16="http://schemas.microsoft.com/office/drawing/2014/main" id="{31F4C95B-CA7A-4712-AAA5-64498522CF80}"/>
              </a:ext>
            </a:extLst>
          </p:cNvPr>
          <p:cNvSpPr/>
          <p:nvPr userDrawn="1"/>
        </p:nvSpPr>
        <p:spPr>
          <a:xfrm>
            <a:off x="368458" y="1"/>
            <a:ext cx="1660827" cy="6307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sp>
        <p:nvSpPr>
          <p:cNvPr id="9" name="Title 8"/>
          <p:cNvSpPr>
            <a:spLocks noGrp="1"/>
          </p:cNvSpPr>
          <p:nvPr>
            <p:ph type="title"/>
          </p:nvPr>
        </p:nvSpPr>
        <p:spPr>
          <a:xfrm>
            <a:off x="786024" y="75407"/>
            <a:ext cx="10304094" cy="744884"/>
          </a:xfrm>
          <a:prstGeom prst="rect">
            <a:avLst/>
          </a:prstGeom>
        </p:spPr>
        <p:txBody>
          <a:bodyPr anchor="ctr" anchorCtr="0"/>
          <a:lstStyle>
            <a:lvl1pPr>
              <a:defRPr sz="2800" b="1"/>
            </a:lvl1pPr>
          </a:lstStyle>
          <a:p>
            <a:endParaRPr lang="bg-BG" dirty="0"/>
          </a:p>
        </p:txBody>
      </p:sp>
      <p:grpSp>
        <p:nvGrpSpPr>
          <p:cNvPr id="25" name="Group 24"/>
          <p:cNvGrpSpPr/>
          <p:nvPr userDrawn="1"/>
        </p:nvGrpSpPr>
        <p:grpSpPr>
          <a:xfrm>
            <a:off x="11090118" y="908397"/>
            <a:ext cx="1035209"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grpSp>
      </p:grpSp>
      <p:sp>
        <p:nvSpPr>
          <p:cNvPr id="26" name="Rectangle 25"/>
          <p:cNvSpPr/>
          <p:nvPr userDrawn="1"/>
        </p:nvSpPr>
        <p:spPr>
          <a:xfrm>
            <a:off x="11813643" y="1"/>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sp>
        <p:nvSpPr>
          <p:cNvPr id="27" name="Rectangle 25">
            <a:extLst>
              <a:ext uri="{FF2B5EF4-FFF2-40B4-BE49-F238E27FC236}">
                <a16:creationId xmlns:a16="http://schemas.microsoft.com/office/drawing/2014/main" id="{9FAD8FF1-E2F6-4351-85F0-A2CEF9353892}"/>
              </a:ext>
            </a:extLst>
          </p:cNvPr>
          <p:cNvSpPr/>
          <p:nvPr userDrawn="1"/>
        </p:nvSpPr>
        <p:spPr>
          <a:xfrm>
            <a:off x="-8791" y="0"/>
            <a:ext cx="378357" cy="6307018"/>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801"/>
          </a:p>
        </p:txBody>
      </p:sp>
      <p:sp>
        <p:nvSpPr>
          <p:cNvPr id="29" name="Text Placeholder 12">
            <a:extLst>
              <a:ext uri="{FF2B5EF4-FFF2-40B4-BE49-F238E27FC236}">
                <a16:creationId xmlns:a16="http://schemas.microsoft.com/office/drawing/2014/main" id="{F9FF52AF-8B2F-4A69-D63C-CA2BB8BC908A}"/>
              </a:ext>
            </a:extLst>
          </p:cNvPr>
          <p:cNvSpPr>
            <a:spLocks noGrp="1"/>
          </p:cNvSpPr>
          <p:nvPr>
            <p:ph type="body" sz="quarter" idx="13"/>
          </p:nvPr>
        </p:nvSpPr>
        <p:spPr>
          <a:xfrm>
            <a:off x="2029285" y="6433077"/>
            <a:ext cx="9679156"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
        <p:nvSpPr>
          <p:cNvPr id="6" name="Slide Number Placeholder 6">
            <a:extLst>
              <a:ext uri="{FF2B5EF4-FFF2-40B4-BE49-F238E27FC236}">
                <a16:creationId xmlns:a16="http://schemas.microsoft.com/office/drawing/2014/main" id="{D9C85087-4A4F-71B2-2F81-752BA57BACE4}"/>
              </a:ext>
            </a:extLst>
          </p:cNvPr>
          <p:cNvSpPr>
            <a:spLocks noGrp="1"/>
          </p:cNvSpPr>
          <p:nvPr>
            <p:ph type="sldNum" sz="quarter" idx="11"/>
          </p:nvPr>
        </p:nvSpPr>
        <p:spPr>
          <a:xfrm>
            <a:off x="11723429" y="6485911"/>
            <a:ext cx="411422"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Tree>
    <p:extLst>
      <p:ext uri="{BB962C8B-B14F-4D97-AF65-F5344CB8AC3E}">
        <p14:creationId xmlns:p14="http://schemas.microsoft.com/office/powerpoint/2010/main" val="2390256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43541" y="1371600"/>
            <a:ext cx="9664900" cy="4876800"/>
          </a:xfrm>
          <a:prstGeom prst="rect">
            <a:avLst/>
          </a:prstGeom>
        </p:spPr>
        <p:txBody>
          <a:bodyPr/>
          <a:lstStyle>
            <a:lvl1pPr>
              <a:defRPr sz="1600">
                <a:solidFill>
                  <a:schemeClr val="tx1"/>
                </a:solidFill>
              </a:defRPr>
            </a:lvl1pPr>
          </a:lstStyle>
          <a:p>
            <a:endParaRPr lang="bg-BG" dirty="0"/>
          </a:p>
        </p:txBody>
      </p:sp>
      <p:sp>
        <p:nvSpPr>
          <p:cNvPr id="30" name="Контейнер за картина 2">
            <a:extLst>
              <a:ext uri="{FF2B5EF4-FFF2-40B4-BE49-F238E27FC236}">
                <a16:creationId xmlns:a16="http://schemas.microsoft.com/office/drawing/2014/main" id="{F762126F-28F8-488F-ACD2-E7455972EA19}"/>
              </a:ext>
            </a:extLst>
          </p:cNvPr>
          <p:cNvSpPr>
            <a:spLocks noGrp="1"/>
          </p:cNvSpPr>
          <p:nvPr>
            <p:ph type="pic" sz="quarter" idx="14" hasCustomPrompt="1"/>
          </p:nvPr>
        </p:nvSpPr>
        <p:spPr>
          <a:xfrm>
            <a:off x="47625" y="5172075"/>
            <a:ext cx="1890713" cy="1058864"/>
          </a:xfrm>
          <a:prstGeom prst="rect">
            <a:avLst/>
          </a:prstGeom>
        </p:spPr>
        <p:txBody>
          <a:bodyPr/>
          <a:lstStyle/>
          <a:p>
            <a:r>
              <a:rPr lang="bg-BG" dirty="0"/>
              <a:t>Лого</a:t>
            </a:r>
          </a:p>
        </p:txBody>
      </p:sp>
      <p:sp>
        <p:nvSpPr>
          <p:cNvPr id="31" name="Title 8">
            <a:extLst>
              <a:ext uri="{FF2B5EF4-FFF2-40B4-BE49-F238E27FC236}">
                <a16:creationId xmlns:a16="http://schemas.microsoft.com/office/drawing/2014/main" id="{24631534-830A-48D2-8F9B-9636EF3070C7}"/>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2" name="Text Placeholder 12">
            <a:extLst>
              <a:ext uri="{FF2B5EF4-FFF2-40B4-BE49-F238E27FC236}">
                <a16:creationId xmlns:a16="http://schemas.microsoft.com/office/drawing/2014/main" id="{420F1AE5-3AAF-4E2F-83D1-1B9C9493BBF0}"/>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801569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30" name="Контейнер за картина 2">
            <a:extLst>
              <a:ext uri="{FF2B5EF4-FFF2-40B4-BE49-F238E27FC236}">
                <a16:creationId xmlns:a16="http://schemas.microsoft.com/office/drawing/2014/main" id="{DEF6AC7B-3F7C-402A-AE69-EC4806950172}"/>
              </a:ext>
            </a:extLst>
          </p:cNvPr>
          <p:cNvSpPr>
            <a:spLocks noGrp="1"/>
          </p:cNvSpPr>
          <p:nvPr>
            <p:ph type="pic" sz="quarter" idx="12" hasCustomPrompt="1"/>
          </p:nvPr>
        </p:nvSpPr>
        <p:spPr>
          <a:xfrm>
            <a:off x="47625" y="5172075"/>
            <a:ext cx="1890713" cy="1058864"/>
          </a:xfrm>
          <a:prstGeom prst="rect">
            <a:avLst/>
          </a:prstGeom>
        </p:spPr>
        <p:txBody>
          <a:bodyPr/>
          <a:lstStyle/>
          <a:p>
            <a:r>
              <a:rPr lang="bg-BG" dirty="0"/>
              <a:t>Лого</a:t>
            </a:r>
          </a:p>
        </p:txBody>
      </p:sp>
      <p:sp>
        <p:nvSpPr>
          <p:cNvPr id="31" name="Title 8">
            <a:extLst>
              <a:ext uri="{FF2B5EF4-FFF2-40B4-BE49-F238E27FC236}">
                <a16:creationId xmlns:a16="http://schemas.microsoft.com/office/drawing/2014/main" id="{0B1A88B2-ED84-4CE5-A0E2-5FA3EF8B4754}"/>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2" name="Text Placeholder 12">
            <a:extLst>
              <a:ext uri="{FF2B5EF4-FFF2-40B4-BE49-F238E27FC236}">
                <a16:creationId xmlns:a16="http://schemas.microsoft.com/office/drawing/2014/main" id="{BA874A74-724F-40D1-B257-ED0A8FAA8B6F}"/>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
        <p:nvSpPr>
          <p:cNvPr id="6" name="Контейнер за таблица 5">
            <a:extLst>
              <a:ext uri="{FF2B5EF4-FFF2-40B4-BE49-F238E27FC236}">
                <a16:creationId xmlns:a16="http://schemas.microsoft.com/office/drawing/2014/main" id="{004AB15E-A873-4DC5-90AE-64E6CD4463DE}"/>
              </a:ext>
            </a:extLst>
          </p:cNvPr>
          <p:cNvSpPr>
            <a:spLocks noGrp="1"/>
          </p:cNvSpPr>
          <p:nvPr>
            <p:ph type="tbl" sz="quarter" idx="14"/>
          </p:nvPr>
        </p:nvSpPr>
        <p:spPr>
          <a:xfrm>
            <a:off x="2042914" y="1316038"/>
            <a:ext cx="9664899" cy="4938712"/>
          </a:xfrm>
          <a:prstGeom prst="rect">
            <a:avLst/>
          </a:prstGeom>
        </p:spPr>
        <p:txBody>
          <a:bodyPr/>
          <a:lstStyle>
            <a:lvl1pPr>
              <a:defRPr sz="1800">
                <a:solidFill>
                  <a:schemeClr val="tx1"/>
                </a:solidFill>
              </a:defRPr>
            </a:lvl1pPr>
          </a:lstStyle>
          <a:p>
            <a:endParaRPr lang="bg-BG"/>
          </a:p>
        </p:txBody>
      </p:sp>
    </p:spTree>
    <p:extLst>
      <p:ext uri="{BB962C8B-B14F-4D97-AF65-F5344CB8AC3E}">
        <p14:creationId xmlns:p14="http://schemas.microsoft.com/office/powerpoint/2010/main" val="3877565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27" name="Chart Placeholder 5"/>
          <p:cNvSpPr>
            <a:spLocks noGrp="1"/>
          </p:cNvSpPr>
          <p:nvPr>
            <p:ph type="chart" sz="quarter" idx="14"/>
          </p:nvPr>
        </p:nvSpPr>
        <p:spPr>
          <a:xfrm>
            <a:off x="6953251" y="1323974"/>
            <a:ext cx="4755190" cy="4943475"/>
          </a:xfrm>
          <a:prstGeom prst="rect">
            <a:avLst/>
          </a:prstGeom>
        </p:spPr>
        <p:txBody>
          <a:bodyPr/>
          <a:lstStyle>
            <a:lvl1pPr>
              <a:defRPr sz="1600">
                <a:solidFill>
                  <a:schemeClr val="tx1"/>
                </a:solidFill>
              </a:defRPr>
            </a:lvl1pPr>
          </a:lstStyle>
          <a:p>
            <a:endParaRPr lang="bg-BG" dirty="0"/>
          </a:p>
        </p:txBody>
      </p:sp>
      <p:sp>
        <p:nvSpPr>
          <p:cNvPr id="31" name="Контейнер за картина 2">
            <a:extLst>
              <a:ext uri="{FF2B5EF4-FFF2-40B4-BE49-F238E27FC236}">
                <a16:creationId xmlns:a16="http://schemas.microsoft.com/office/drawing/2014/main" id="{C1135A8F-B533-4DF1-BD48-A3D3E6F053B7}"/>
              </a:ext>
            </a:extLst>
          </p:cNvPr>
          <p:cNvSpPr>
            <a:spLocks noGrp="1"/>
          </p:cNvSpPr>
          <p:nvPr>
            <p:ph type="pic" sz="quarter" idx="15" hasCustomPrompt="1"/>
          </p:nvPr>
        </p:nvSpPr>
        <p:spPr>
          <a:xfrm>
            <a:off x="47625" y="5172075"/>
            <a:ext cx="1890713" cy="1058864"/>
          </a:xfrm>
          <a:prstGeom prst="rect">
            <a:avLst/>
          </a:prstGeom>
        </p:spPr>
        <p:txBody>
          <a:bodyPr/>
          <a:lstStyle/>
          <a:p>
            <a:r>
              <a:rPr lang="bg-BG" dirty="0"/>
              <a:t>Лого</a:t>
            </a:r>
          </a:p>
        </p:txBody>
      </p:sp>
      <p:sp>
        <p:nvSpPr>
          <p:cNvPr id="32" name="Title 8">
            <a:extLst>
              <a:ext uri="{FF2B5EF4-FFF2-40B4-BE49-F238E27FC236}">
                <a16:creationId xmlns:a16="http://schemas.microsoft.com/office/drawing/2014/main" id="{D6237BC7-1D22-4661-A882-A1BAE66011A8}"/>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3" name="Text Placeholder 12">
            <a:extLst>
              <a:ext uri="{FF2B5EF4-FFF2-40B4-BE49-F238E27FC236}">
                <a16:creationId xmlns:a16="http://schemas.microsoft.com/office/drawing/2014/main" id="{A8252236-6020-42C4-AB3D-92F5DC1589FC}"/>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
        <p:nvSpPr>
          <p:cNvPr id="8" name="Контейнер за диаграма 7">
            <a:extLst>
              <a:ext uri="{FF2B5EF4-FFF2-40B4-BE49-F238E27FC236}">
                <a16:creationId xmlns:a16="http://schemas.microsoft.com/office/drawing/2014/main" id="{7D7CC50D-F210-4EB0-8FBF-7FD0C1589AFB}"/>
              </a:ext>
            </a:extLst>
          </p:cNvPr>
          <p:cNvSpPr>
            <a:spLocks noGrp="1"/>
          </p:cNvSpPr>
          <p:nvPr>
            <p:ph type="chart" sz="quarter" idx="16"/>
          </p:nvPr>
        </p:nvSpPr>
        <p:spPr>
          <a:xfrm>
            <a:off x="2043114" y="1323975"/>
            <a:ext cx="4805361" cy="4906963"/>
          </a:xfrm>
          <a:prstGeom prst="rect">
            <a:avLst/>
          </a:prstGeom>
        </p:spPr>
        <p:txBody>
          <a:bodyPr/>
          <a:lstStyle>
            <a:lvl1pPr>
              <a:defRPr sz="1600">
                <a:solidFill>
                  <a:schemeClr val="tx1"/>
                </a:solidFill>
              </a:defRPr>
            </a:lvl1pPr>
          </a:lstStyle>
          <a:p>
            <a:endParaRPr lang="bg-BG" dirty="0"/>
          </a:p>
        </p:txBody>
      </p:sp>
    </p:spTree>
    <p:extLst>
      <p:ext uri="{BB962C8B-B14F-4D97-AF65-F5344CB8AC3E}">
        <p14:creationId xmlns:p14="http://schemas.microsoft.com/office/powerpoint/2010/main" val="2080612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25" name="Group 24"/>
          <p:cNvGrpSpPr/>
          <p:nvPr userDrawn="1"/>
        </p:nvGrpSpPr>
        <p:grpSpPr>
          <a:xfrm>
            <a:off x="11090117" y="908397"/>
            <a:ext cx="1035208" cy="372301"/>
            <a:chOff x="5620124" y="3509549"/>
            <a:chExt cx="1035208" cy="372301"/>
          </a:xfrm>
        </p:grpSpPr>
        <p:grpSp>
          <p:nvGrpSpPr>
            <p:cNvPr id="3" name="Group 2"/>
            <p:cNvGrpSpPr/>
            <p:nvPr userDrawn="1"/>
          </p:nvGrpSpPr>
          <p:grpSpPr>
            <a:xfrm>
              <a:off x="5822793" y="3509549"/>
              <a:ext cx="825657" cy="105601"/>
              <a:chOff x="5822793" y="3509549"/>
              <a:chExt cx="825657" cy="105601"/>
            </a:xfrm>
          </p:grpSpPr>
          <p:cxnSp>
            <p:nvCxnSpPr>
              <p:cNvPr id="17" name="Straight Connector 16"/>
              <p:cNvCxnSpPr/>
              <p:nvPr userDrawn="1"/>
            </p:nvCxnSpPr>
            <p:spPr>
              <a:xfrm>
                <a:off x="5924550" y="3562350"/>
                <a:ext cx="723900" cy="0"/>
              </a:xfrm>
              <a:prstGeom prst="line">
                <a:avLst/>
              </a:prstGeom>
              <a:ln w="9525">
                <a:solidFill>
                  <a:schemeClr val="accent4"/>
                </a:solidFill>
                <a:headEnd type="none"/>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5822793" y="3509549"/>
                <a:ext cx="104400" cy="105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 name="Group 3"/>
            <p:cNvGrpSpPr/>
            <p:nvPr userDrawn="1"/>
          </p:nvGrpSpPr>
          <p:grpSpPr>
            <a:xfrm>
              <a:off x="5620124" y="3598449"/>
              <a:ext cx="1028326" cy="105601"/>
              <a:chOff x="5620124" y="3598449"/>
              <a:chExt cx="1028326" cy="105601"/>
            </a:xfrm>
          </p:grpSpPr>
          <p:cxnSp>
            <p:nvCxnSpPr>
              <p:cNvPr id="16" name="Straight Connector 15"/>
              <p:cNvCxnSpPr/>
              <p:nvPr userDrawn="1"/>
            </p:nvCxnSpPr>
            <p:spPr>
              <a:xfrm>
                <a:off x="5676899" y="3651250"/>
                <a:ext cx="971551" cy="0"/>
              </a:xfrm>
              <a:prstGeom prst="line">
                <a:avLst/>
              </a:prstGeom>
              <a:ln w="9525">
                <a:solidFill>
                  <a:schemeClr val="accent1"/>
                </a:solidFill>
                <a:head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20124" y="3598449"/>
                <a:ext cx="104400" cy="105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2" name="Group 21"/>
            <p:cNvGrpSpPr/>
            <p:nvPr userDrawn="1"/>
          </p:nvGrpSpPr>
          <p:grpSpPr>
            <a:xfrm>
              <a:off x="5905875" y="3687349"/>
              <a:ext cx="742575" cy="105601"/>
              <a:chOff x="5905875" y="3687349"/>
              <a:chExt cx="742575" cy="105601"/>
            </a:xfrm>
          </p:grpSpPr>
          <p:cxnSp>
            <p:nvCxnSpPr>
              <p:cNvPr id="18" name="Straight Connector 17"/>
              <p:cNvCxnSpPr/>
              <p:nvPr userDrawn="1"/>
            </p:nvCxnSpPr>
            <p:spPr>
              <a:xfrm>
                <a:off x="5924550" y="3740150"/>
                <a:ext cx="723900" cy="0"/>
              </a:xfrm>
              <a:prstGeom prst="line">
                <a:avLst/>
              </a:prstGeom>
              <a:ln w="9525">
                <a:solidFill>
                  <a:schemeClr val="accent2"/>
                </a:solidFill>
                <a:head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5905875" y="3687349"/>
                <a:ext cx="104400" cy="105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4" name="Group 23"/>
            <p:cNvGrpSpPr/>
            <p:nvPr userDrawn="1"/>
          </p:nvGrpSpPr>
          <p:grpSpPr>
            <a:xfrm>
              <a:off x="6056779" y="3776249"/>
              <a:ext cx="598553" cy="105601"/>
              <a:chOff x="6056779" y="3776249"/>
              <a:chExt cx="598553" cy="105601"/>
            </a:xfrm>
          </p:grpSpPr>
          <p:cxnSp>
            <p:nvCxnSpPr>
              <p:cNvPr id="19" name="Straight Connector 18"/>
              <p:cNvCxnSpPr/>
              <p:nvPr userDrawn="1"/>
            </p:nvCxnSpPr>
            <p:spPr>
              <a:xfrm>
                <a:off x="6160031" y="3829050"/>
                <a:ext cx="495301" cy="0"/>
              </a:xfrm>
              <a:prstGeom prst="line">
                <a:avLst/>
              </a:prstGeom>
              <a:ln w="9525">
                <a:solidFill>
                  <a:schemeClr val="accent3"/>
                </a:solidFill>
                <a:head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6056779" y="3776249"/>
                <a:ext cx="104400" cy="105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26" name="Rectangle 25"/>
          <p:cNvSpPr/>
          <p:nvPr userDrawn="1"/>
        </p:nvSpPr>
        <p:spPr>
          <a:xfrm>
            <a:off x="11813643" y="0"/>
            <a:ext cx="378357" cy="6857999"/>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Slide Number Placeholder 6"/>
          <p:cNvSpPr>
            <a:spLocks noGrp="1"/>
          </p:cNvSpPr>
          <p:nvPr>
            <p:ph type="sldNum" sz="quarter" idx="11"/>
          </p:nvPr>
        </p:nvSpPr>
        <p:spPr>
          <a:xfrm>
            <a:off x="11687174" y="6485910"/>
            <a:ext cx="447676" cy="365125"/>
          </a:xfrm>
        </p:spPr>
        <p:txBody>
          <a:bodyPr/>
          <a:lstStyle>
            <a:lvl1pPr>
              <a:defRPr i="0">
                <a:solidFill>
                  <a:schemeClr val="accent2"/>
                </a:solidFill>
              </a:defRPr>
            </a:lvl1pPr>
          </a:lstStyle>
          <a:p>
            <a:fld id="{4240E9C8-A0BB-46A0-8406-18B049EFD034}" type="slidenum">
              <a:rPr lang="bg-BG" smtClean="0"/>
              <a:pPr/>
              <a:t>‹#›</a:t>
            </a:fld>
            <a:endParaRPr lang="bg-BG" dirty="0"/>
          </a:p>
        </p:txBody>
      </p:sp>
      <p:sp>
        <p:nvSpPr>
          <p:cNvPr id="6" name="Chart Placeholder 5"/>
          <p:cNvSpPr>
            <a:spLocks noGrp="1"/>
          </p:cNvSpPr>
          <p:nvPr>
            <p:ph type="chart" sz="quarter" idx="12"/>
          </p:nvPr>
        </p:nvSpPr>
        <p:spPr>
          <a:xfrm>
            <a:off x="2043541" y="1323975"/>
            <a:ext cx="4785884" cy="4953000"/>
          </a:xfrm>
          <a:prstGeom prst="rect">
            <a:avLst/>
          </a:prstGeom>
        </p:spPr>
        <p:txBody>
          <a:bodyPr/>
          <a:lstStyle>
            <a:lvl1pPr>
              <a:defRPr sz="1600"/>
            </a:lvl1pPr>
          </a:lstStyle>
          <a:p>
            <a:endParaRPr lang="bg-BG" dirty="0"/>
          </a:p>
        </p:txBody>
      </p:sp>
      <p:sp>
        <p:nvSpPr>
          <p:cNvPr id="27" name="Chart Placeholder 5"/>
          <p:cNvSpPr>
            <a:spLocks noGrp="1"/>
          </p:cNvSpPr>
          <p:nvPr>
            <p:ph type="chart" sz="quarter" idx="14"/>
          </p:nvPr>
        </p:nvSpPr>
        <p:spPr>
          <a:xfrm>
            <a:off x="6953251" y="1323976"/>
            <a:ext cx="4755190" cy="2374568"/>
          </a:xfrm>
          <a:prstGeom prst="rect">
            <a:avLst/>
          </a:prstGeom>
        </p:spPr>
        <p:txBody>
          <a:bodyPr/>
          <a:lstStyle>
            <a:lvl1pPr>
              <a:defRPr sz="1600"/>
            </a:lvl1pPr>
          </a:lstStyle>
          <a:p>
            <a:endParaRPr lang="bg-BG" dirty="0"/>
          </a:p>
        </p:txBody>
      </p:sp>
      <p:sp>
        <p:nvSpPr>
          <p:cNvPr id="28" name="Chart Placeholder 5"/>
          <p:cNvSpPr>
            <a:spLocks noGrp="1"/>
          </p:cNvSpPr>
          <p:nvPr>
            <p:ph type="chart" sz="quarter" idx="15"/>
          </p:nvPr>
        </p:nvSpPr>
        <p:spPr>
          <a:xfrm>
            <a:off x="6953251" y="3807725"/>
            <a:ext cx="4755190" cy="2459725"/>
          </a:xfrm>
          <a:prstGeom prst="rect">
            <a:avLst/>
          </a:prstGeom>
        </p:spPr>
        <p:txBody>
          <a:bodyPr/>
          <a:lstStyle>
            <a:lvl1pPr>
              <a:defRPr sz="1600"/>
            </a:lvl1pPr>
          </a:lstStyle>
          <a:p>
            <a:endParaRPr lang="bg-BG" dirty="0"/>
          </a:p>
        </p:txBody>
      </p:sp>
      <p:sp>
        <p:nvSpPr>
          <p:cNvPr id="31" name="Контейнер за картина 2">
            <a:extLst>
              <a:ext uri="{FF2B5EF4-FFF2-40B4-BE49-F238E27FC236}">
                <a16:creationId xmlns:a16="http://schemas.microsoft.com/office/drawing/2014/main" id="{7C61C3B5-14FE-4AD0-9A73-5CD8CE7D07FF}"/>
              </a:ext>
            </a:extLst>
          </p:cNvPr>
          <p:cNvSpPr>
            <a:spLocks noGrp="1"/>
          </p:cNvSpPr>
          <p:nvPr>
            <p:ph type="pic" sz="quarter" idx="16" hasCustomPrompt="1"/>
          </p:nvPr>
        </p:nvSpPr>
        <p:spPr>
          <a:xfrm>
            <a:off x="47625" y="5172075"/>
            <a:ext cx="1890713" cy="1058864"/>
          </a:xfrm>
          <a:prstGeom prst="rect">
            <a:avLst/>
          </a:prstGeom>
        </p:spPr>
        <p:txBody>
          <a:bodyPr/>
          <a:lstStyle/>
          <a:p>
            <a:r>
              <a:rPr lang="bg-BG" dirty="0"/>
              <a:t>Лого</a:t>
            </a:r>
          </a:p>
        </p:txBody>
      </p:sp>
      <p:sp>
        <p:nvSpPr>
          <p:cNvPr id="32" name="Title 8">
            <a:extLst>
              <a:ext uri="{FF2B5EF4-FFF2-40B4-BE49-F238E27FC236}">
                <a16:creationId xmlns:a16="http://schemas.microsoft.com/office/drawing/2014/main" id="{A74EB104-8298-4F8C-8EA0-0B64720B9597}"/>
              </a:ext>
            </a:extLst>
          </p:cNvPr>
          <p:cNvSpPr>
            <a:spLocks noGrp="1"/>
          </p:cNvSpPr>
          <p:nvPr>
            <p:ph type="title"/>
          </p:nvPr>
        </p:nvSpPr>
        <p:spPr>
          <a:xfrm>
            <a:off x="2052085" y="74614"/>
            <a:ext cx="9656355" cy="744884"/>
          </a:xfrm>
          <a:prstGeom prst="rect">
            <a:avLst/>
          </a:prstGeom>
        </p:spPr>
        <p:txBody>
          <a:bodyPr anchor="ctr" anchorCtr="0"/>
          <a:lstStyle>
            <a:lvl1pPr>
              <a:defRPr sz="2800" b="1"/>
            </a:lvl1pPr>
          </a:lstStyle>
          <a:p>
            <a:endParaRPr lang="bg-BG" dirty="0"/>
          </a:p>
        </p:txBody>
      </p:sp>
      <p:sp>
        <p:nvSpPr>
          <p:cNvPr id="33" name="Text Placeholder 12">
            <a:extLst>
              <a:ext uri="{FF2B5EF4-FFF2-40B4-BE49-F238E27FC236}">
                <a16:creationId xmlns:a16="http://schemas.microsoft.com/office/drawing/2014/main" id="{BDA8FE90-F8ED-41D4-8FE5-53563DEA811D}"/>
              </a:ext>
            </a:extLst>
          </p:cNvPr>
          <p:cNvSpPr>
            <a:spLocks noGrp="1"/>
          </p:cNvSpPr>
          <p:nvPr>
            <p:ph type="body" sz="quarter" idx="13"/>
          </p:nvPr>
        </p:nvSpPr>
        <p:spPr>
          <a:xfrm>
            <a:off x="2043541" y="6353175"/>
            <a:ext cx="9664899" cy="400050"/>
          </a:xfrm>
          <a:prstGeom prst="rect">
            <a:avLst/>
          </a:prstGeom>
        </p:spPr>
        <p:txBody>
          <a:bodyPr/>
          <a:lstStyle>
            <a:lvl1pPr marL="0" indent="0">
              <a:buNone/>
              <a:defRPr sz="1100" i="1">
                <a:solidFill>
                  <a:schemeClr val="accent2"/>
                </a:solidFill>
                <a:latin typeface="+mn-lt"/>
              </a:defRPr>
            </a:lvl1pPr>
          </a:lstStyle>
          <a:p>
            <a:pPr lvl="0"/>
            <a:endParaRPr lang="bg-BG" dirty="0"/>
          </a:p>
        </p:txBody>
      </p:sp>
    </p:spTree>
    <p:extLst>
      <p:ext uri="{BB962C8B-B14F-4D97-AF65-F5344CB8AC3E}">
        <p14:creationId xmlns:p14="http://schemas.microsoft.com/office/powerpoint/2010/main" val="1817214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35" name="Group 1034"/>
          <p:cNvGrpSpPr/>
          <p:nvPr userDrawn="1"/>
        </p:nvGrpSpPr>
        <p:grpSpPr>
          <a:xfrm>
            <a:off x="-6713" y="0"/>
            <a:ext cx="1981199" cy="6858000"/>
            <a:chOff x="0" y="0"/>
            <a:chExt cx="1981199" cy="6858000"/>
          </a:xfrm>
        </p:grpSpPr>
        <p:sp>
          <p:nvSpPr>
            <p:cNvPr id="3" name="Rectangle 2"/>
            <p:cNvSpPr/>
            <p:nvPr userDrawn="1"/>
          </p:nvSpPr>
          <p:spPr>
            <a:xfrm>
              <a:off x="0" y="0"/>
              <a:ext cx="1943100" cy="6858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 name="Rectangle 3"/>
            <p:cNvSpPr/>
            <p:nvPr userDrawn="1"/>
          </p:nvSpPr>
          <p:spPr>
            <a:xfrm>
              <a:off x="8550" y="485776"/>
              <a:ext cx="1972649" cy="5800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5" name="Group 4"/>
            <p:cNvGrpSpPr/>
            <p:nvPr userDrawn="1"/>
          </p:nvGrpSpPr>
          <p:grpSpPr>
            <a:xfrm>
              <a:off x="2812" y="514351"/>
              <a:ext cx="1940288" cy="747601"/>
              <a:chOff x="-6713" y="514351"/>
              <a:chExt cx="1940288" cy="747601"/>
            </a:xfrm>
          </p:grpSpPr>
          <p:sp>
            <p:nvSpPr>
              <p:cNvPr id="6" name="Rectangle 5"/>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84787" y="51435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 name="Rectangle 7"/>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 name="Rectangle 8"/>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0" name="Rectangle 9"/>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1" name="Rectangle 10"/>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 name="Rectangle 11"/>
              <p:cNvSpPr/>
              <p:nvPr userDrawn="1"/>
            </p:nvSpPr>
            <p:spPr>
              <a:xfrm>
                <a:off x="384787"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3" name="Rectangle 12"/>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4" name="Rectangle 13"/>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5" name="Rectangle 14"/>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7" name="Group 16"/>
            <p:cNvGrpSpPr/>
            <p:nvPr userDrawn="1"/>
          </p:nvGrpSpPr>
          <p:grpSpPr>
            <a:xfrm>
              <a:off x="5680" y="1290527"/>
              <a:ext cx="1940288" cy="747601"/>
              <a:chOff x="-6713" y="514351"/>
              <a:chExt cx="1940288" cy="747601"/>
            </a:xfrm>
          </p:grpSpPr>
          <p:sp>
            <p:nvSpPr>
              <p:cNvPr id="18" name="Rectangle 17"/>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0" name="Rectangle 19"/>
              <p:cNvSpPr/>
              <p:nvPr userDrawn="1"/>
            </p:nvSpPr>
            <p:spPr>
              <a:xfrm>
                <a:off x="781050" y="514351"/>
                <a:ext cx="360000" cy="36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Rectangle 20"/>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3" name="Rectangle 22"/>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5" name="Rectangle 24"/>
              <p:cNvSpPr/>
              <p:nvPr userDrawn="1"/>
            </p:nvSpPr>
            <p:spPr>
              <a:xfrm>
                <a:off x="781050" y="901952"/>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6" name="Rectangle 25"/>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Rectangle 26"/>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28" name="Group 27"/>
            <p:cNvGrpSpPr/>
            <p:nvPr userDrawn="1"/>
          </p:nvGrpSpPr>
          <p:grpSpPr>
            <a:xfrm>
              <a:off x="8548" y="2066703"/>
              <a:ext cx="1940288" cy="747601"/>
              <a:chOff x="-6713" y="514351"/>
              <a:chExt cx="1940288" cy="747601"/>
            </a:xfrm>
          </p:grpSpPr>
          <p:sp>
            <p:nvSpPr>
              <p:cNvPr id="29" name="Rectangle 28"/>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0" name="Rectangle 29"/>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ectangle 30"/>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Rectangle 31"/>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ectangle 32"/>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4" name="Rectangle 33"/>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5" name="Rectangle 34"/>
              <p:cNvSpPr/>
              <p:nvPr userDrawn="1"/>
            </p:nvSpPr>
            <p:spPr>
              <a:xfrm>
                <a:off x="384787"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6" name="Rectangle 35"/>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8" name="Rectangle 37"/>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39" name="Group 38"/>
            <p:cNvGrpSpPr/>
            <p:nvPr userDrawn="1"/>
          </p:nvGrpSpPr>
          <p:grpSpPr>
            <a:xfrm>
              <a:off x="11416" y="2842879"/>
              <a:ext cx="1940288" cy="747601"/>
              <a:chOff x="-6713" y="514351"/>
              <a:chExt cx="1940288" cy="747601"/>
            </a:xfrm>
          </p:grpSpPr>
          <p:sp>
            <p:nvSpPr>
              <p:cNvPr id="40" name="Rectangle 39"/>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1" name="Rectangle 40"/>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2" name="Rectangle 41"/>
              <p:cNvSpPr/>
              <p:nvPr userDrawn="1"/>
            </p:nvSpPr>
            <p:spPr>
              <a:xfrm>
                <a:off x="781050" y="514351"/>
                <a:ext cx="360000" cy="360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3" name="Rectangle 42"/>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6" name="Rectangle 45"/>
              <p:cNvSpPr/>
              <p:nvPr userDrawn="1"/>
            </p:nvSpPr>
            <p:spPr>
              <a:xfrm>
                <a:off x="384787" y="901952"/>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7" name="Rectangle 46"/>
              <p:cNvSpPr/>
              <p:nvPr userDrawn="1"/>
            </p:nvSpPr>
            <p:spPr>
              <a:xfrm>
                <a:off x="781050" y="901952"/>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9" name="Rectangle 48"/>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50" name="Group 49"/>
            <p:cNvGrpSpPr/>
            <p:nvPr userDrawn="1"/>
          </p:nvGrpSpPr>
          <p:grpSpPr>
            <a:xfrm>
              <a:off x="14284" y="3619055"/>
              <a:ext cx="1940288" cy="747601"/>
              <a:chOff x="-6713" y="514351"/>
              <a:chExt cx="1940288" cy="747601"/>
            </a:xfrm>
          </p:grpSpPr>
          <p:sp>
            <p:nvSpPr>
              <p:cNvPr id="51" name="Rectangle 50"/>
              <p:cNvSpPr/>
              <p:nvPr userDrawn="1"/>
            </p:nvSpPr>
            <p:spPr>
              <a:xfrm>
                <a:off x="-67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384787" y="514351"/>
                <a:ext cx="360000" cy="360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3" name="Rectangle 52"/>
              <p:cNvSpPr/>
              <p:nvPr userDrawn="1"/>
            </p:nvSpPr>
            <p:spPr>
              <a:xfrm>
                <a:off x="781050"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4" name="Rectangle 53"/>
              <p:cNvSpPr/>
              <p:nvPr userDrawn="1"/>
            </p:nvSpPr>
            <p:spPr>
              <a:xfrm>
                <a:off x="1177313"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5" name="Rectangle 54"/>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6" name="Rectangle 55"/>
              <p:cNvSpPr/>
              <p:nvPr userDrawn="1"/>
            </p:nvSpPr>
            <p:spPr>
              <a:xfrm>
                <a:off x="-67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8" name="Rectangle 57"/>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9" name="Rectangle 58"/>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61" name="Group 60"/>
            <p:cNvGrpSpPr/>
            <p:nvPr userDrawn="1"/>
          </p:nvGrpSpPr>
          <p:grpSpPr>
            <a:xfrm>
              <a:off x="408652" y="4395231"/>
              <a:ext cx="1548788" cy="747601"/>
              <a:chOff x="384787" y="514351"/>
              <a:chExt cx="1548788" cy="747601"/>
            </a:xfrm>
          </p:grpSpPr>
          <p:sp>
            <p:nvSpPr>
              <p:cNvPr id="63" name="Rectangle 62"/>
              <p:cNvSpPr/>
              <p:nvPr userDrawn="1"/>
            </p:nvSpPr>
            <p:spPr>
              <a:xfrm>
                <a:off x="384787"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6" name="Rectangle 65"/>
              <p:cNvSpPr/>
              <p:nvPr userDrawn="1"/>
            </p:nvSpPr>
            <p:spPr>
              <a:xfrm>
                <a:off x="1573575" y="514351"/>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9" name="Rectangle 68"/>
              <p:cNvSpPr/>
              <p:nvPr userDrawn="1"/>
            </p:nvSpPr>
            <p:spPr>
              <a:xfrm>
                <a:off x="781050"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0" name="Rectangle 69"/>
              <p:cNvSpPr/>
              <p:nvPr userDrawn="1"/>
            </p:nvSpPr>
            <p:spPr>
              <a:xfrm>
                <a:off x="1177313"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1" name="Rectangle 70"/>
              <p:cNvSpPr/>
              <p:nvPr userDrawn="1"/>
            </p:nvSpPr>
            <p:spPr>
              <a:xfrm>
                <a:off x="1573575" y="901952"/>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77" name="Rectangle 76"/>
            <p:cNvSpPr/>
            <p:nvPr userDrawn="1"/>
          </p:nvSpPr>
          <p:spPr>
            <a:xfrm>
              <a:off x="1600308" y="5171407"/>
              <a:ext cx="360000" cy="360000"/>
            </a:xfrm>
            <a:prstGeom prst="rect">
              <a:avLst/>
            </a:prstGeom>
            <a:solidFill>
              <a:srgbClr val="E8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1044" name="Slide Number Placeholder 1043"/>
          <p:cNvSpPr>
            <a:spLocks noGrp="1"/>
          </p:cNvSpPr>
          <p:nvPr>
            <p:ph type="sldNum" sz="quarter" idx="4"/>
          </p:nvPr>
        </p:nvSpPr>
        <p:spPr>
          <a:xfrm>
            <a:off x="11706224" y="6428760"/>
            <a:ext cx="428625" cy="365125"/>
          </a:xfrm>
          <a:prstGeom prst="rect">
            <a:avLst/>
          </a:prstGeom>
        </p:spPr>
        <p:txBody>
          <a:bodyPr vert="horz" lIns="91440" tIns="45720" rIns="91440" bIns="45720" rtlCol="0" anchor="ctr"/>
          <a:lstStyle>
            <a:lvl1pPr algn="r">
              <a:defRPr sz="1200">
                <a:solidFill>
                  <a:schemeClr val="bg1"/>
                </a:solidFill>
              </a:defRPr>
            </a:lvl1pPr>
          </a:lstStyle>
          <a:p>
            <a:fld id="{4240E9C8-A0BB-46A0-8406-18B049EFD034}" type="slidenum">
              <a:rPr lang="bg-BG" smtClean="0"/>
              <a:pPr/>
              <a:t>‹#›</a:t>
            </a:fld>
            <a:endParaRPr lang="bg-BG" dirty="0"/>
          </a:p>
        </p:txBody>
      </p:sp>
      <p:pic>
        <p:nvPicPr>
          <p:cNvPr id="16" name="Картина 15">
            <a:extLst>
              <a:ext uri="{FF2B5EF4-FFF2-40B4-BE49-F238E27FC236}">
                <a16:creationId xmlns:a16="http://schemas.microsoft.com/office/drawing/2014/main" id="{31438677-918A-C66B-D25B-EB69ACC4D7E2}"/>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74294" y="6380369"/>
            <a:ext cx="1792069" cy="396000"/>
          </a:xfrm>
          <a:prstGeom prst="rect">
            <a:avLst/>
          </a:prstGeom>
        </p:spPr>
      </p:pic>
      <p:pic>
        <p:nvPicPr>
          <p:cNvPr id="2" name="Картина 1">
            <a:extLst>
              <a:ext uri="{FF2B5EF4-FFF2-40B4-BE49-F238E27FC236}">
                <a16:creationId xmlns:a16="http://schemas.microsoft.com/office/drawing/2014/main" id="{4A55BF4C-7F06-29BB-49DD-C51605F73404}"/>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87674" y="5327076"/>
            <a:ext cx="903159" cy="928247"/>
          </a:xfrm>
          <a:prstGeom prst="rect">
            <a:avLst/>
          </a:prstGeom>
        </p:spPr>
      </p:pic>
    </p:spTree>
    <p:extLst>
      <p:ext uri="{BB962C8B-B14F-4D97-AF65-F5344CB8AC3E}">
        <p14:creationId xmlns:p14="http://schemas.microsoft.com/office/powerpoint/2010/main" val="691698797"/>
      </p:ext>
    </p:extLst>
  </p:cSld>
  <p:clrMap bg1="lt1" tx1="dk1" bg2="lt2" tx2="dk2" accent1="accent1" accent2="accent2" accent3="accent3" accent4="accent4" accent5="accent5" accent6="accent6" hlink="hlink" folHlink="folHlink"/>
  <p:sldLayoutIdLst>
    <p:sldLayoutId id="2147483654" r:id="rId1"/>
    <p:sldLayoutId id="2147483656" r:id="rId2"/>
    <p:sldLayoutId id="2147483655" r:id="rId3"/>
    <p:sldLayoutId id="2147483657" r:id="rId4"/>
    <p:sldLayoutId id="2147483668" r:id="rId5"/>
    <p:sldLayoutId id="2147483659" r:id="rId6"/>
    <p:sldLayoutId id="2147483658" r:id="rId7"/>
    <p:sldLayoutId id="2147483660" r:id="rId8"/>
    <p:sldLayoutId id="2147483662" r:id="rId9"/>
    <p:sldLayoutId id="2147483663" r:id="rId10"/>
    <p:sldLayoutId id="2147483661" r:id="rId11"/>
    <p:sldLayoutId id="2147483664" r:id="rId12"/>
    <p:sldLayoutId id="2147483665" r:id="rId13"/>
    <p:sldLayoutId id="2147483666" r:id="rId14"/>
    <p:sldLayoutId id="2147483667" r:id="rId15"/>
    <p:sldLayoutId id="2147483653" r:id="rId16"/>
    <p:sldLayoutId id="2147483670" r:id="rId17"/>
  </p:sldLayoutIdLst>
  <p:hf hdr="0" ftr="0" dt="0"/>
  <p:txStyles>
    <p:titleStyle>
      <a:lvl1pPr algn="ctr" defTabSz="914400" rtl="0" eaLnBrk="1" latinLnBrk="0" hangingPunct="1">
        <a:lnSpc>
          <a:spcPct val="90000"/>
        </a:lnSpc>
        <a:spcBef>
          <a:spcPct val="0"/>
        </a:spcBef>
        <a:buNone/>
        <a:defRPr sz="88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tags" Target="../tags/tag118.xml"/><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tags" Target="../tags/tag121.xml"/><Relationship Id="rId47" Type="http://schemas.openxmlformats.org/officeDocument/2006/relationships/tags" Target="../tags/tag126.xml"/><Relationship Id="rId50" Type="http://schemas.openxmlformats.org/officeDocument/2006/relationships/tags" Target="../tags/tag129.xml"/><Relationship Id="rId55" Type="http://schemas.openxmlformats.org/officeDocument/2006/relationships/tags" Target="../tags/tag134.xml"/><Relationship Id="rId63" Type="http://schemas.openxmlformats.org/officeDocument/2006/relationships/tags" Target="../tags/tag142.xml"/><Relationship Id="rId68" Type="http://schemas.openxmlformats.org/officeDocument/2006/relationships/tags" Target="../tags/tag147.xml"/><Relationship Id="rId76" Type="http://schemas.openxmlformats.org/officeDocument/2006/relationships/tags" Target="../tags/tag155.xml"/><Relationship Id="rId7" Type="http://schemas.openxmlformats.org/officeDocument/2006/relationships/tags" Target="../tags/tag86.xml"/><Relationship Id="rId71" Type="http://schemas.openxmlformats.org/officeDocument/2006/relationships/tags" Target="../tags/tag150.xml"/><Relationship Id="rId2" Type="http://schemas.openxmlformats.org/officeDocument/2006/relationships/tags" Target="../tags/tag81.xml"/><Relationship Id="rId16" Type="http://schemas.openxmlformats.org/officeDocument/2006/relationships/tags" Target="../tags/tag95.xml"/><Relationship Id="rId29" Type="http://schemas.openxmlformats.org/officeDocument/2006/relationships/tags" Target="../tags/tag108.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tags" Target="../tags/tag116.xml"/><Relationship Id="rId40" Type="http://schemas.openxmlformats.org/officeDocument/2006/relationships/tags" Target="../tags/tag119.xml"/><Relationship Id="rId45" Type="http://schemas.openxmlformats.org/officeDocument/2006/relationships/tags" Target="../tags/tag124.xml"/><Relationship Id="rId53" Type="http://schemas.openxmlformats.org/officeDocument/2006/relationships/tags" Target="../tags/tag132.xml"/><Relationship Id="rId58" Type="http://schemas.openxmlformats.org/officeDocument/2006/relationships/tags" Target="../tags/tag137.xml"/><Relationship Id="rId66" Type="http://schemas.openxmlformats.org/officeDocument/2006/relationships/tags" Target="../tags/tag145.xml"/><Relationship Id="rId74" Type="http://schemas.openxmlformats.org/officeDocument/2006/relationships/tags" Target="../tags/tag153.xml"/><Relationship Id="rId79" Type="http://schemas.openxmlformats.org/officeDocument/2006/relationships/tags" Target="../tags/tag158.xml"/><Relationship Id="rId5" Type="http://schemas.openxmlformats.org/officeDocument/2006/relationships/tags" Target="../tags/tag84.xml"/><Relationship Id="rId61" Type="http://schemas.openxmlformats.org/officeDocument/2006/relationships/tags" Target="../tags/tag140.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4" Type="http://schemas.openxmlformats.org/officeDocument/2006/relationships/tags" Target="../tags/tag123.xml"/><Relationship Id="rId52" Type="http://schemas.openxmlformats.org/officeDocument/2006/relationships/tags" Target="../tags/tag131.xml"/><Relationship Id="rId60" Type="http://schemas.openxmlformats.org/officeDocument/2006/relationships/tags" Target="../tags/tag139.xml"/><Relationship Id="rId65" Type="http://schemas.openxmlformats.org/officeDocument/2006/relationships/tags" Target="../tags/tag144.xml"/><Relationship Id="rId73" Type="http://schemas.openxmlformats.org/officeDocument/2006/relationships/tags" Target="../tags/tag152.xml"/><Relationship Id="rId78" Type="http://schemas.openxmlformats.org/officeDocument/2006/relationships/tags" Target="../tags/tag157.xml"/><Relationship Id="rId81" Type="http://schemas.openxmlformats.org/officeDocument/2006/relationships/chart" Target="../charts/chart6.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 Id="rId43" Type="http://schemas.openxmlformats.org/officeDocument/2006/relationships/tags" Target="../tags/tag122.xml"/><Relationship Id="rId48" Type="http://schemas.openxmlformats.org/officeDocument/2006/relationships/tags" Target="../tags/tag127.xml"/><Relationship Id="rId56" Type="http://schemas.openxmlformats.org/officeDocument/2006/relationships/tags" Target="../tags/tag135.xml"/><Relationship Id="rId64" Type="http://schemas.openxmlformats.org/officeDocument/2006/relationships/tags" Target="../tags/tag143.xml"/><Relationship Id="rId69" Type="http://schemas.openxmlformats.org/officeDocument/2006/relationships/tags" Target="../tags/tag148.xml"/><Relationship Id="rId77" Type="http://schemas.openxmlformats.org/officeDocument/2006/relationships/tags" Target="../tags/tag156.xml"/><Relationship Id="rId8" Type="http://schemas.openxmlformats.org/officeDocument/2006/relationships/tags" Target="../tags/tag87.xml"/><Relationship Id="rId51" Type="http://schemas.openxmlformats.org/officeDocument/2006/relationships/tags" Target="../tags/tag130.xml"/><Relationship Id="rId72" Type="http://schemas.openxmlformats.org/officeDocument/2006/relationships/tags" Target="../tags/tag151.xml"/><Relationship Id="rId80" Type="http://schemas.openxmlformats.org/officeDocument/2006/relationships/slideLayout" Target="../slideLayouts/slideLayout17.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tags" Target="../tags/tag125.xml"/><Relationship Id="rId59" Type="http://schemas.openxmlformats.org/officeDocument/2006/relationships/tags" Target="../tags/tag138.xml"/><Relationship Id="rId67" Type="http://schemas.openxmlformats.org/officeDocument/2006/relationships/tags" Target="../tags/tag146.xml"/><Relationship Id="rId20" Type="http://schemas.openxmlformats.org/officeDocument/2006/relationships/tags" Target="../tags/tag99.xml"/><Relationship Id="rId41" Type="http://schemas.openxmlformats.org/officeDocument/2006/relationships/tags" Target="../tags/tag120.xml"/><Relationship Id="rId54" Type="http://schemas.openxmlformats.org/officeDocument/2006/relationships/tags" Target="../tags/tag133.xml"/><Relationship Id="rId62" Type="http://schemas.openxmlformats.org/officeDocument/2006/relationships/tags" Target="../tags/tag141.xml"/><Relationship Id="rId70" Type="http://schemas.openxmlformats.org/officeDocument/2006/relationships/tags" Target="../tags/tag149.xml"/><Relationship Id="rId75" Type="http://schemas.openxmlformats.org/officeDocument/2006/relationships/tags" Target="../tags/tag154.xml"/><Relationship Id="rId1" Type="http://schemas.openxmlformats.org/officeDocument/2006/relationships/tags" Target="../tags/tag80.xml"/><Relationship Id="rId6" Type="http://schemas.openxmlformats.org/officeDocument/2006/relationships/tags" Target="../tags/tag85.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49" Type="http://schemas.openxmlformats.org/officeDocument/2006/relationships/tags" Target="../tags/tag128.xml"/><Relationship Id="rId57" Type="http://schemas.openxmlformats.org/officeDocument/2006/relationships/tags" Target="../tags/tag136.xml"/></Relationships>
</file>

<file path=ppt/slides/_rels/slide11.xml.rels><?xml version="1.0" encoding="UTF-8" standalone="yes"?>
<Relationships xmlns="http://schemas.openxmlformats.org/package/2006/relationships"><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9" Type="http://schemas.openxmlformats.org/officeDocument/2006/relationships/tags" Target="../tags/tag197.xml"/><Relationship Id="rId21" Type="http://schemas.openxmlformats.org/officeDocument/2006/relationships/tags" Target="../tags/tag179.xml"/><Relationship Id="rId34" Type="http://schemas.openxmlformats.org/officeDocument/2006/relationships/tags" Target="../tags/tag192.xml"/><Relationship Id="rId42" Type="http://schemas.openxmlformats.org/officeDocument/2006/relationships/tags" Target="../tags/tag200.xml"/><Relationship Id="rId47" Type="http://schemas.openxmlformats.org/officeDocument/2006/relationships/tags" Target="../tags/tag205.xml"/><Relationship Id="rId50" Type="http://schemas.openxmlformats.org/officeDocument/2006/relationships/tags" Target="../tags/tag208.xml"/><Relationship Id="rId55" Type="http://schemas.openxmlformats.org/officeDocument/2006/relationships/tags" Target="../tags/tag213.xml"/><Relationship Id="rId63" Type="http://schemas.openxmlformats.org/officeDocument/2006/relationships/tags" Target="../tags/tag221.xml"/><Relationship Id="rId68" Type="http://schemas.openxmlformats.org/officeDocument/2006/relationships/tags" Target="../tags/tag226.xml"/><Relationship Id="rId76" Type="http://schemas.openxmlformats.org/officeDocument/2006/relationships/tags" Target="../tags/tag234.xml"/><Relationship Id="rId7" Type="http://schemas.openxmlformats.org/officeDocument/2006/relationships/tags" Target="../tags/tag165.xml"/><Relationship Id="rId71" Type="http://schemas.openxmlformats.org/officeDocument/2006/relationships/tags" Target="../tags/tag229.xml"/><Relationship Id="rId2" Type="http://schemas.openxmlformats.org/officeDocument/2006/relationships/tags" Target="../tags/tag160.xml"/><Relationship Id="rId16" Type="http://schemas.openxmlformats.org/officeDocument/2006/relationships/tags" Target="../tags/tag174.xml"/><Relationship Id="rId29" Type="http://schemas.openxmlformats.org/officeDocument/2006/relationships/tags" Target="../tags/tag187.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tags" Target="../tags/tag190.xml"/><Relationship Id="rId37" Type="http://schemas.openxmlformats.org/officeDocument/2006/relationships/tags" Target="../tags/tag195.xml"/><Relationship Id="rId40" Type="http://schemas.openxmlformats.org/officeDocument/2006/relationships/tags" Target="../tags/tag198.xml"/><Relationship Id="rId45" Type="http://schemas.openxmlformats.org/officeDocument/2006/relationships/tags" Target="../tags/tag203.xml"/><Relationship Id="rId53" Type="http://schemas.openxmlformats.org/officeDocument/2006/relationships/tags" Target="../tags/tag211.xml"/><Relationship Id="rId58" Type="http://schemas.openxmlformats.org/officeDocument/2006/relationships/tags" Target="../tags/tag216.xml"/><Relationship Id="rId66" Type="http://schemas.openxmlformats.org/officeDocument/2006/relationships/tags" Target="../tags/tag224.xml"/><Relationship Id="rId74" Type="http://schemas.openxmlformats.org/officeDocument/2006/relationships/tags" Target="../tags/tag232.xml"/><Relationship Id="rId79" Type="http://schemas.openxmlformats.org/officeDocument/2006/relationships/tags" Target="../tags/tag237.xml"/><Relationship Id="rId5" Type="http://schemas.openxmlformats.org/officeDocument/2006/relationships/tags" Target="../tags/tag163.xml"/><Relationship Id="rId61" Type="http://schemas.openxmlformats.org/officeDocument/2006/relationships/tags" Target="../tags/tag219.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tags" Target="../tags/tag189.xml"/><Relationship Id="rId44" Type="http://schemas.openxmlformats.org/officeDocument/2006/relationships/tags" Target="../tags/tag202.xml"/><Relationship Id="rId52" Type="http://schemas.openxmlformats.org/officeDocument/2006/relationships/tags" Target="../tags/tag210.xml"/><Relationship Id="rId60" Type="http://schemas.openxmlformats.org/officeDocument/2006/relationships/tags" Target="../tags/tag218.xml"/><Relationship Id="rId65" Type="http://schemas.openxmlformats.org/officeDocument/2006/relationships/tags" Target="../tags/tag223.xml"/><Relationship Id="rId73" Type="http://schemas.openxmlformats.org/officeDocument/2006/relationships/tags" Target="../tags/tag231.xml"/><Relationship Id="rId78" Type="http://schemas.openxmlformats.org/officeDocument/2006/relationships/tags" Target="../tags/tag236.xml"/><Relationship Id="rId81" Type="http://schemas.openxmlformats.org/officeDocument/2006/relationships/chart" Target="../charts/chart7.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tags" Target="../tags/tag193.xml"/><Relationship Id="rId43" Type="http://schemas.openxmlformats.org/officeDocument/2006/relationships/tags" Target="../tags/tag201.xml"/><Relationship Id="rId48" Type="http://schemas.openxmlformats.org/officeDocument/2006/relationships/tags" Target="../tags/tag206.xml"/><Relationship Id="rId56" Type="http://schemas.openxmlformats.org/officeDocument/2006/relationships/tags" Target="../tags/tag214.xml"/><Relationship Id="rId64" Type="http://schemas.openxmlformats.org/officeDocument/2006/relationships/tags" Target="../tags/tag222.xml"/><Relationship Id="rId69" Type="http://schemas.openxmlformats.org/officeDocument/2006/relationships/tags" Target="../tags/tag227.xml"/><Relationship Id="rId77" Type="http://schemas.openxmlformats.org/officeDocument/2006/relationships/tags" Target="../tags/tag235.xml"/><Relationship Id="rId8" Type="http://schemas.openxmlformats.org/officeDocument/2006/relationships/tags" Target="../tags/tag166.xml"/><Relationship Id="rId51" Type="http://schemas.openxmlformats.org/officeDocument/2006/relationships/tags" Target="../tags/tag209.xml"/><Relationship Id="rId72" Type="http://schemas.openxmlformats.org/officeDocument/2006/relationships/tags" Target="../tags/tag230.xml"/><Relationship Id="rId80" Type="http://schemas.openxmlformats.org/officeDocument/2006/relationships/slideLayout" Target="../slideLayouts/slideLayout17.xml"/><Relationship Id="rId3" Type="http://schemas.openxmlformats.org/officeDocument/2006/relationships/tags" Target="../tags/tag161.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tags" Target="../tags/tag191.xml"/><Relationship Id="rId38" Type="http://schemas.openxmlformats.org/officeDocument/2006/relationships/tags" Target="../tags/tag196.xml"/><Relationship Id="rId46" Type="http://schemas.openxmlformats.org/officeDocument/2006/relationships/tags" Target="../tags/tag204.xml"/><Relationship Id="rId59" Type="http://schemas.openxmlformats.org/officeDocument/2006/relationships/tags" Target="../tags/tag217.xml"/><Relationship Id="rId67" Type="http://schemas.openxmlformats.org/officeDocument/2006/relationships/tags" Target="../tags/tag225.xml"/><Relationship Id="rId20" Type="http://schemas.openxmlformats.org/officeDocument/2006/relationships/tags" Target="../tags/tag178.xml"/><Relationship Id="rId41" Type="http://schemas.openxmlformats.org/officeDocument/2006/relationships/tags" Target="../tags/tag199.xml"/><Relationship Id="rId54" Type="http://schemas.openxmlformats.org/officeDocument/2006/relationships/tags" Target="../tags/tag212.xml"/><Relationship Id="rId62" Type="http://schemas.openxmlformats.org/officeDocument/2006/relationships/tags" Target="../tags/tag220.xml"/><Relationship Id="rId70" Type="http://schemas.openxmlformats.org/officeDocument/2006/relationships/tags" Target="../tags/tag228.xml"/><Relationship Id="rId75" Type="http://schemas.openxmlformats.org/officeDocument/2006/relationships/tags" Target="../tags/tag233.xml"/><Relationship Id="rId1" Type="http://schemas.openxmlformats.org/officeDocument/2006/relationships/tags" Target="../tags/tag159.xml"/><Relationship Id="rId6" Type="http://schemas.openxmlformats.org/officeDocument/2006/relationships/tags" Target="../tags/tag164.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tags" Target="../tags/tag194.xml"/><Relationship Id="rId49" Type="http://schemas.openxmlformats.org/officeDocument/2006/relationships/tags" Target="../tags/tag207.xml"/><Relationship Id="rId57" Type="http://schemas.openxmlformats.org/officeDocument/2006/relationships/tags" Target="../tags/tag215.xml"/></Relationships>
</file>

<file path=ppt/slides/_rels/slide12.xml.rels><?xml version="1.0" encoding="UTF-8" standalone="yes"?>
<Relationships xmlns="http://schemas.openxmlformats.org/package/2006/relationships"><Relationship Id="rId13" Type="http://schemas.openxmlformats.org/officeDocument/2006/relationships/tags" Target="../tags/tag250.xml"/><Relationship Id="rId18" Type="http://schemas.openxmlformats.org/officeDocument/2006/relationships/tags" Target="../tags/tag255.xml"/><Relationship Id="rId26" Type="http://schemas.openxmlformats.org/officeDocument/2006/relationships/tags" Target="../tags/tag263.xml"/><Relationship Id="rId39" Type="http://schemas.openxmlformats.org/officeDocument/2006/relationships/tags" Target="../tags/tag276.xml"/><Relationship Id="rId21" Type="http://schemas.openxmlformats.org/officeDocument/2006/relationships/tags" Target="../tags/tag258.xml"/><Relationship Id="rId34" Type="http://schemas.openxmlformats.org/officeDocument/2006/relationships/tags" Target="../tags/tag271.xml"/><Relationship Id="rId42" Type="http://schemas.openxmlformats.org/officeDocument/2006/relationships/tags" Target="../tags/tag279.xml"/><Relationship Id="rId47" Type="http://schemas.openxmlformats.org/officeDocument/2006/relationships/tags" Target="../tags/tag284.xml"/><Relationship Id="rId50" Type="http://schemas.openxmlformats.org/officeDocument/2006/relationships/tags" Target="../tags/tag287.xml"/><Relationship Id="rId55" Type="http://schemas.openxmlformats.org/officeDocument/2006/relationships/tags" Target="../tags/tag292.xml"/><Relationship Id="rId63" Type="http://schemas.openxmlformats.org/officeDocument/2006/relationships/tags" Target="../tags/tag300.xml"/><Relationship Id="rId68" Type="http://schemas.openxmlformats.org/officeDocument/2006/relationships/tags" Target="../tags/tag305.xml"/><Relationship Id="rId76" Type="http://schemas.openxmlformats.org/officeDocument/2006/relationships/tags" Target="../tags/tag313.xml"/><Relationship Id="rId7" Type="http://schemas.openxmlformats.org/officeDocument/2006/relationships/tags" Target="../tags/tag244.xml"/><Relationship Id="rId71" Type="http://schemas.openxmlformats.org/officeDocument/2006/relationships/tags" Target="../tags/tag308.xml"/><Relationship Id="rId2" Type="http://schemas.openxmlformats.org/officeDocument/2006/relationships/tags" Target="../tags/tag239.xml"/><Relationship Id="rId16" Type="http://schemas.openxmlformats.org/officeDocument/2006/relationships/tags" Target="../tags/tag253.xml"/><Relationship Id="rId29" Type="http://schemas.openxmlformats.org/officeDocument/2006/relationships/tags" Target="../tags/tag266.xml"/><Relationship Id="rId11" Type="http://schemas.openxmlformats.org/officeDocument/2006/relationships/tags" Target="../tags/tag248.xml"/><Relationship Id="rId24" Type="http://schemas.openxmlformats.org/officeDocument/2006/relationships/tags" Target="../tags/tag261.xml"/><Relationship Id="rId32" Type="http://schemas.openxmlformats.org/officeDocument/2006/relationships/tags" Target="../tags/tag269.xml"/><Relationship Id="rId37" Type="http://schemas.openxmlformats.org/officeDocument/2006/relationships/tags" Target="../tags/tag274.xml"/><Relationship Id="rId40" Type="http://schemas.openxmlformats.org/officeDocument/2006/relationships/tags" Target="../tags/tag277.xml"/><Relationship Id="rId45" Type="http://schemas.openxmlformats.org/officeDocument/2006/relationships/tags" Target="../tags/tag282.xml"/><Relationship Id="rId53" Type="http://schemas.openxmlformats.org/officeDocument/2006/relationships/tags" Target="../tags/tag290.xml"/><Relationship Id="rId58" Type="http://schemas.openxmlformats.org/officeDocument/2006/relationships/tags" Target="../tags/tag295.xml"/><Relationship Id="rId66" Type="http://schemas.openxmlformats.org/officeDocument/2006/relationships/tags" Target="../tags/tag303.xml"/><Relationship Id="rId74" Type="http://schemas.openxmlformats.org/officeDocument/2006/relationships/tags" Target="../tags/tag311.xml"/><Relationship Id="rId79" Type="http://schemas.openxmlformats.org/officeDocument/2006/relationships/tags" Target="../tags/tag316.xml"/><Relationship Id="rId5" Type="http://schemas.openxmlformats.org/officeDocument/2006/relationships/tags" Target="../tags/tag242.xml"/><Relationship Id="rId61" Type="http://schemas.openxmlformats.org/officeDocument/2006/relationships/tags" Target="../tags/tag298.xml"/><Relationship Id="rId10" Type="http://schemas.openxmlformats.org/officeDocument/2006/relationships/tags" Target="../tags/tag247.xml"/><Relationship Id="rId19" Type="http://schemas.openxmlformats.org/officeDocument/2006/relationships/tags" Target="../tags/tag256.xml"/><Relationship Id="rId31" Type="http://schemas.openxmlformats.org/officeDocument/2006/relationships/tags" Target="../tags/tag268.xml"/><Relationship Id="rId44" Type="http://schemas.openxmlformats.org/officeDocument/2006/relationships/tags" Target="../tags/tag281.xml"/><Relationship Id="rId52" Type="http://schemas.openxmlformats.org/officeDocument/2006/relationships/tags" Target="../tags/tag289.xml"/><Relationship Id="rId60" Type="http://schemas.openxmlformats.org/officeDocument/2006/relationships/tags" Target="../tags/tag297.xml"/><Relationship Id="rId65" Type="http://schemas.openxmlformats.org/officeDocument/2006/relationships/tags" Target="../tags/tag302.xml"/><Relationship Id="rId73" Type="http://schemas.openxmlformats.org/officeDocument/2006/relationships/tags" Target="../tags/tag310.xml"/><Relationship Id="rId78" Type="http://schemas.openxmlformats.org/officeDocument/2006/relationships/tags" Target="../tags/tag315.xml"/><Relationship Id="rId81" Type="http://schemas.openxmlformats.org/officeDocument/2006/relationships/chart" Target="../charts/chart8.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tags" Target="../tags/tag251.xml"/><Relationship Id="rId22" Type="http://schemas.openxmlformats.org/officeDocument/2006/relationships/tags" Target="../tags/tag259.xml"/><Relationship Id="rId27" Type="http://schemas.openxmlformats.org/officeDocument/2006/relationships/tags" Target="../tags/tag264.xml"/><Relationship Id="rId30" Type="http://schemas.openxmlformats.org/officeDocument/2006/relationships/tags" Target="../tags/tag267.xml"/><Relationship Id="rId35" Type="http://schemas.openxmlformats.org/officeDocument/2006/relationships/tags" Target="../tags/tag272.xml"/><Relationship Id="rId43" Type="http://schemas.openxmlformats.org/officeDocument/2006/relationships/tags" Target="../tags/tag280.xml"/><Relationship Id="rId48" Type="http://schemas.openxmlformats.org/officeDocument/2006/relationships/tags" Target="../tags/tag285.xml"/><Relationship Id="rId56" Type="http://schemas.openxmlformats.org/officeDocument/2006/relationships/tags" Target="../tags/tag293.xml"/><Relationship Id="rId64" Type="http://schemas.openxmlformats.org/officeDocument/2006/relationships/tags" Target="../tags/tag301.xml"/><Relationship Id="rId69" Type="http://schemas.openxmlformats.org/officeDocument/2006/relationships/tags" Target="../tags/tag306.xml"/><Relationship Id="rId77" Type="http://schemas.openxmlformats.org/officeDocument/2006/relationships/tags" Target="../tags/tag314.xml"/><Relationship Id="rId8" Type="http://schemas.openxmlformats.org/officeDocument/2006/relationships/tags" Target="../tags/tag245.xml"/><Relationship Id="rId51" Type="http://schemas.openxmlformats.org/officeDocument/2006/relationships/tags" Target="../tags/tag288.xml"/><Relationship Id="rId72" Type="http://schemas.openxmlformats.org/officeDocument/2006/relationships/tags" Target="../tags/tag309.xml"/><Relationship Id="rId80" Type="http://schemas.openxmlformats.org/officeDocument/2006/relationships/slideLayout" Target="../slideLayouts/slideLayout17.xml"/><Relationship Id="rId3" Type="http://schemas.openxmlformats.org/officeDocument/2006/relationships/tags" Target="../tags/tag240.xml"/><Relationship Id="rId12" Type="http://schemas.openxmlformats.org/officeDocument/2006/relationships/tags" Target="../tags/tag249.xml"/><Relationship Id="rId17" Type="http://schemas.openxmlformats.org/officeDocument/2006/relationships/tags" Target="../tags/tag254.xml"/><Relationship Id="rId25" Type="http://schemas.openxmlformats.org/officeDocument/2006/relationships/tags" Target="../tags/tag262.xml"/><Relationship Id="rId33" Type="http://schemas.openxmlformats.org/officeDocument/2006/relationships/tags" Target="../tags/tag270.xml"/><Relationship Id="rId38" Type="http://schemas.openxmlformats.org/officeDocument/2006/relationships/tags" Target="../tags/tag275.xml"/><Relationship Id="rId46" Type="http://schemas.openxmlformats.org/officeDocument/2006/relationships/tags" Target="../tags/tag283.xml"/><Relationship Id="rId59" Type="http://schemas.openxmlformats.org/officeDocument/2006/relationships/tags" Target="../tags/tag296.xml"/><Relationship Id="rId67" Type="http://schemas.openxmlformats.org/officeDocument/2006/relationships/tags" Target="../tags/tag304.xml"/><Relationship Id="rId20" Type="http://schemas.openxmlformats.org/officeDocument/2006/relationships/tags" Target="../tags/tag257.xml"/><Relationship Id="rId41" Type="http://schemas.openxmlformats.org/officeDocument/2006/relationships/tags" Target="../tags/tag278.xml"/><Relationship Id="rId54" Type="http://schemas.openxmlformats.org/officeDocument/2006/relationships/tags" Target="../tags/tag291.xml"/><Relationship Id="rId62" Type="http://schemas.openxmlformats.org/officeDocument/2006/relationships/tags" Target="../tags/tag299.xml"/><Relationship Id="rId70" Type="http://schemas.openxmlformats.org/officeDocument/2006/relationships/tags" Target="../tags/tag307.xml"/><Relationship Id="rId75" Type="http://schemas.openxmlformats.org/officeDocument/2006/relationships/tags" Target="../tags/tag312.xml"/><Relationship Id="rId1" Type="http://schemas.openxmlformats.org/officeDocument/2006/relationships/tags" Target="../tags/tag238.xml"/><Relationship Id="rId6" Type="http://schemas.openxmlformats.org/officeDocument/2006/relationships/tags" Target="../tags/tag243.xml"/><Relationship Id="rId15" Type="http://schemas.openxmlformats.org/officeDocument/2006/relationships/tags" Target="../tags/tag252.xml"/><Relationship Id="rId23" Type="http://schemas.openxmlformats.org/officeDocument/2006/relationships/tags" Target="../tags/tag260.xml"/><Relationship Id="rId28" Type="http://schemas.openxmlformats.org/officeDocument/2006/relationships/tags" Target="../tags/tag265.xml"/><Relationship Id="rId36" Type="http://schemas.openxmlformats.org/officeDocument/2006/relationships/tags" Target="../tags/tag273.xml"/><Relationship Id="rId49" Type="http://schemas.openxmlformats.org/officeDocument/2006/relationships/tags" Target="../tags/tag286.xml"/><Relationship Id="rId57" Type="http://schemas.openxmlformats.org/officeDocument/2006/relationships/tags" Target="../tags/tag294.xml"/></Relationships>
</file>

<file path=ppt/slides/_rels/slide13.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9" Type="http://schemas.openxmlformats.org/officeDocument/2006/relationships/tags" Target="../tags/tag355.xml"/><Relationship Id="rId21" Type="http://schemas.openxmlformats.org/officeDocument/2006/relationships/tags" Target="../tags/tag337.xml"/><Relationship Id="rId34" Type="http://schemas.openxmlformats.org/officeDocument/2006/relationships/tags" Target="../tags/tag350.xml"/><Relationship Id="rId42" Type="http://schemas.openxmlformats.org/officeDocument/2006/relationships/tags" Target="../tags/tag358.xml"/><Relationship Id="rId47" Type="http://schemas.openxmlformats.org/officeDocument/2006/relationships/tags" Target="../tags/tag363.xml"/><Relationship Id="rId50" Type="http://schemas.openxmlformats.org/officeDocument/2006/relationships/tags" Target="../tags/tag366.xml"/><Relationship Id="rId55" Type="http://schemas.openxmlformats.org/officeDocument/2006/relationships/tags" Target="../tags/tag371.xml"/><Relationship Id="rId63" Type="http://schemas.openxmlformats.org/officeDocument/2006/relationships/tags" Target="../tags/tag379.xml"/><Relationship Id="rId68" Type="http://schemas.openxmlformats.org/officeDocument/2006/relationships/tags" Target="../tags/tag384.xml"/><Relationship Id="rId76" Type="http://schemas.openxmlformats.org/officeDocument/2006/relationships/tags" Target="../tags/tag392.xml"/><Relationship Id="rId7" Type="http://schemas.openxmlformats.org/officeDocument/2006/relationships/tags" Target="../tags/tag323.xml"/><Relationship Id="rId71" Type="http://schemas.openxmlformats.org/officeDocument/2006/relationships/tags" Target="../tags/tag387.xml"/><Relationship Id="rId2" Type="http://schemas.openxmlformats.org/officeDocument/2006/relationships/tags" Target="../tags/tag318.xml"/><Relationship Id="rId16" Type="http://schemas.openxmlformats.org/officeDocument/2006/relationships/tags" Target="../tags/tag332.xml"/><Relationship Id="rId29" Type="http://schemas.openxmlformats.org/officeDocument/2006/relationships/tags" Target="../tags/tag345.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37" Type="http://schemas.openxmlformats.org/officeDocument/2006/relationships/tags" Target="../tags/tag353.xml"/><Relationship Id="rId40" Type="http://schemas.openxmlformats.org/officeDocument/2006/relationships/tags" Target="../tags/tag356.xml"/><Relationship Id="rId45" Type="http://schemas.openxmlformats.org/officeDocument/2006/relationships/tags" Target="../tags/tag361.xml"/><Relationship Id="rId53" Type="http://schemas.openxmlformats.org/officeDocument/2006/relationships/tags" Target="../tags/tag369.xml"/><Relationship Id="rId58" Type="http://schemas.openxmlformats.org/officeDocument/2006/relationships/tags" Target="../tags/tag374.xml"/><Relationship Id="rId66" Type="http://schemas.openxmlformats.org/officeDocument/2006/relationships/tags" Target="../tags/tag382.xml"/><Relationship Id="rId74" Type="http://schemas.openxmlformats.org/officeDocument/2006/relationships/tags" Target="../tags/tag390.xml"/><Relationship Id="rId79" Type="http://schemas.openxmlformats.org/officeDocument/2006/relationships/tags" Target="../tags/tag395.xml"/><Relationship Id="rId5" Type="http://schemas.openxmlformats.org/officeDocument/2006/relationships/tags" Target="../tags/tag321.xml"/><Relationship Id="rId61" Type="http://schemas.openxmlformats.org/officeDocument/2006/relationships/tags" Target="../tags/tag377.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4" Type="http://schemas.openxmlformats.org/officeDocument/2006/relationships/tags" Target="../tags/tag360.xml"/><Relationship Id="rId52" Type="http://schemas.openxmlformats.org/officeDocument/2006/relationships/tags" Target="../tags/tag368.xml"/><Relationship Id="rId60" Type="http://schemas.openxmlformats.org/officeDocument/2006/relationships/tags" Target="../tags/tag376.xml"/><Relationship Id="rId65" Type="http://schemas.openxmlformats.org/officeDocument/2006/relationships/tags" Target="../tags/tag381.xml"/><Relationship Id="rId73" Type="http://schemas.openxmlformats.org/officeDocument/2006/relationships/tags" Target="../tags/tag389.xml"/><Relationship Id="rId78" Type="http://schemas.openxmlformats.org/officeDocument/2006/relationships/tags" Target="../tags/tag394.xml"/><Relationship Id="rId81" Type="http://schemas.openxmlformats.org/officeDocument/2006/relationships/chart" Target="../charts/chart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tags" Target="../tags/tag359.xml"/><Relationship Id="rId48" Type="http://schemas.openxmlformats.org/officeDocument/2006/relationships/tags" Target="../tags/tag364.xml"/><Relationship Id="rId56" Type="http://schemas.openxmlformats.org/officeDocument/2006/relationships/tags" Target="../tags/tag372.xml"/><Relationship Id="rId64" Type="http://schemas.openxmlformats.org/officeDocument/2006/relationships/tags" Target="../tags/tag380.xml"/><Relationship Id="rId69" Type="http://schemas.openxmlformats.org/officeDocument/2006/relationships/tags" Target="../tags/tag385.xml"/><Relationship Id="rId77" Type="http://schemas.openxmlformats.org/officeDocument/2006/relationships/tags" Target="../tags/tag393.xml"/><Relationship Id="rId8" Type="http://schemas.openxmlformats.org/officeDocument/2006/relationships/tags" Target="../tags/tag324.xml"/><Relationship Id="rId51" Type="http://schemas.openxmlformats.org/officeDocument/2006/relationships/tags" Target="../tags/tag367.xml"/><Relationship Id="rId72" Type="http://schemas.openxmlformats.org/officeDocument/2006/relationships/tags" Target="../tags/tag388.xml"/><Relationship Id="rId80" Type="http://schemas.openxmlformats.org/officeDocument/2006/relationships/slideLayout" Target="../slideLayouts/slideLayout17.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tags" Target="../tags/tag354.xml"/><Relationship Id="rId46" Type="http://schemas.openxmlformats.org/officeDocument/2006/relationships/tags" Target="../tags/tag362.xml"/><Relationship Id="rId59" Type="http://schemas.openxmlformats.org/officeDocument/2006/relationships/tags" Target="../tags/tag375.xml"/><Relationship Id="rId67" Type="http://schemas.openxmlformats.org/officeDocument/2006/relationships/tags" Target="../tags/tag383.xml"/><Relationship Id="rId20" Type="http://schemas.openxmlformats.org/officeDocument/2006/relationships/tags" Target="../tags/tag336.xml"/><Relationship Id="rId41" Type="http://schemas.openxmlformats.org/officeDocument/2006/relationships/tags" Target="../tags/tag357.xml"/><Relationship Id="rId54" Type="http://schemas.openxmlformats.org/officeDocument/2006/relationships/tags" Target="../tags/tag370.xml"/><Relationship Id="rId62" Type="http://schemas.openxmlformats.org/officeDocument/2006/relationships/tags" Target="../tags/tag378.xml"/><Relationship Id="rId70" Type="http://schemas.openxmlformats.org/officeDocument/2006/relationships/tags" Target="../tags/tag386.xml"/><Relationship Id="rId75" Type="http://schemas.openxmlformats.org/officeDocument/2006/relationships/tags" Target="../tags/tag391.xml"/><Relationship Id="rId1" Type="http://schemas.openxmlformats.org/officeDocument/2006/relationships/tags" Target="../tags/tag317.xml"/><Relationship Id="rId6" Type="http://schemas.openxmlformats.org/officeDocument/2006/relationships/tags" Target="../tags/tag322.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tags" Target="../tags/tag352.xml"/><Relationship Id="rId49" Type="http://schemas.openxmlformats.org/officeDocument/2006/relationships/tags" Target="../tags/tag365.xml"/><Relationship Id="rId57" Type="http://schemas.openxmlformats.org/officeDocument/2006/relationships/tags" Target="../tags/tag373.xml"/></Relationships>
</file>

<file path=ppt/slides/_rels/slide14.xml.rels><?xml version="1.0" encoding="UTF-8" standalone="yes"?>
<Relationships xmlns="http://schemas.openxmlformats.org/package/2006/relationships"><Relationship Id="rId13" Type="http://schemas.openxmlformats.org/officeDocument/2006/relationships/tags" Target="../tags/tag408.xml"/><Relationship Id="rId18" Type="http://schemas.openxmlformats.org/officeDocument/2006/relationships/tags" Target="../tags/tag413.xml"/><Relationship Id="rId26" Type="http://schemas.openxmlformats.org/officeDocument/2006/relationships/tags" Target="../tags/tag421.xml"/><Relationship Id="rId39" Type="http://schemas.openxmlformats.org/officeDocument/2006/relationships/tags" Target="../tags/tag434.xml"/><Relationship Id="rId21" Type="http://schemas.openxmlformats.org/officeDocument/2006/relationships/tags" Target="../tags/tag416.xml"/><Relationship Id="rId34" Type="http://schemas.openxmlformats.org/officeDocument/2006/relationships/tags" Target="../tags/tag429.xml"/><Relationship Id="rId42" Type="http://schemas.openxmlformats.org/officeDocument/2006/relationships/tags" Target="../tags/tag437.xml"/><Relationship Id="rId47" Type="http://schemas.openxmlformats.org/officeDocument/2006/relationships/tags" Target="../tags/tag442.xml"/><Relationship Id="rId50" Type="http://schemas.openxmlformats.org/officeDocument/2006/relationships/tags" Target="../tags/tag445.xml"/><Relationship Id="rId55" Type="http://schemas.openxmlformats.org/officeDocument/2006/relationships/tags" Target="../tags/tag450.xml"/><Relationship Id="rId63" Type="http://schemas.openxmlformats.org/officeDocument/2006/relationships/tags" Target="../tags/tag458.xml"/><Relationship Id="rId68" Type="http://schemas.openxmlformats.org/officeDocument/2006/relationships/tags" Target="../tags/tag463.xml"/><Relationship Id="rId76" Type="http://schemas.openxmlformats.org/officeDocument/2006/relationships/tags" Target="../tags/tag471.xml"/><Relationship Id="rId7" Type="http://schemas.openxmlformats.org/officeDocument/2006/relationships/tags" Target="../tags/tag402.xml"/><Relationship Id="rId71" Type="http://schemas.openxmlformats.org/officeDocument/2006/relationships/tags" Target="../tags/tag466.xml"/><Relationship Id="rId2" Type="http://schemas.openxmlformats.org/officeDocument/2006/relationships/tags" Target="../tags/tag397.xml"/><Relationship Id="rId16" Type="http://schemas.openxmlformats.org/officeDocument/2006/relationships/tags" Target="../tags/tag411.xml"/><Relationship Id="rId29" Type="http://schemas.openxmlformats.org/officeDocument/2006/relationships/tags" Target="../tags/tag424.xml"/><Relationship Id="rId11" Type="http://schemas.openxmlformats.org/officeDocument/2006/relationships/tags" Target="../tags/tag406.xml"/><Relationship Id="rId24" Type="http://schemas.openxmlformats.org/officeDocument/2006/relationships/tags" Target="../tags/tag419.xml"/><Relationship Id="rId32" Type="http://schemas.openxmlformats.org/officeDocument/2006/relationships/tags" Target="../tags/tag427.xml"/><Relationship Id="rId37" Type="http://schemas.openxmlformats.org/officeDocument/2006/relationships/tags" Target="../tags/tag432.xml"/><Relationship Id="rId40" Type="http://schemas.openxmlformats.org/officeDocument/2006/relationships/tags" Target="../tags/tag435.xml"/><Relationship Id="rId45" Type="http://schemas.openxmlformats.org/officeDocument/2006/relationships/tags" Target="../tags/tag440.xml"/><Relationship Id="rId53" Type="http://schemas.openxmlformats.org/officeDocument/2006/relationships/tags" Target="../tags/tag448.xml"/><Relationship Id="rId58" Type="http://schemas.openxmlformats.org/officeDocument/2006/relationships/tags" Target="../tags/tag453.xml"/><Relationship Id="rId66" Type="http://schemas.openxmlformats.org/officeDocument/2006/relationships/tags" Target="../tags/tag461.xml"/><Relationship Id="rId74" Type="http://schemas.openxmlformats.org/officeDocument/2006/relationships/tags" Target="../tags/tag469.xml"/><Relationship Id="rId79" Type="http://schemas.openxmlformats.org/officeDocument/2006/relationships/tags" Target="../tags/tag474.xml"/><Relationship Id="rId5" Type="http://schemas.openxmlformats.org/officeDocument/2006/relationships/tags" Target="../tags/tag400.xml"/><Relationship Id="rId61" Type="http://schemas.openxmlformats.org/officeDocument/2006/relationships/tags" Target="../tags/tag456.xml"/><Relationship Id="rId10" Type="http://schemas.openxmlformats.org/officeDocument/2006/relationships/tags" Target="../tags/tag405.xml"/><Relationship Id="rId19" Type="http://schemas.openxmlformats.org/officeDocument/2006/relationships/tags" Target="../tags/tag414.xml"/><Relationship Id="rId31" Type="http://schemas.openxmlformats.org/officeDocument/2006/relationships/tags" Target="../tags/tag426.xml"/><Relationship Id="rId44" Type="http://schemas.openxmlformats.org/officeDocument/2006/relationships/tags" Target="../tags/tag439.xml"/><Relationship Id="rId52" Type="http://schemas.openxmlformats.org/officeDocument/2006/relationships/tags" Target="../tags/tag447.xml"/><Relationship Id="rId60" Type="http://schemas.openxmlformats.org/officeDocument/2006/relationships/tags" Target="../tags/tag455.xml"/><Relationship Id="rId65" Type="http://schemas.openxmlformats.org/officeDocument/2006/relationships/tags" Target="../tags/tag460.xml"/><Relationship Id="rId73" Type="http://schemas.openxmlformats.org/officeDocument/2006/relationships/tags" Target="../tags/tag468.xml"/><Relationship Id="rId78" Type="http://schemas.openxmlformats.org/officeDocument/2006/relationships/tags" Target="../tags/tag473.xml"/><Relationship Id="rId81" Type="http://schemas.openxmlformats.org/officeDocument/2006/relationships/chart" Target="../charts/chart10.xml"/><Relationship Id="rId4" Type="http://schemas.openxmlformats.org/officeDocument/2006/relationships/tags" Target="../tags/tag399.xml"/><Relationship Id="rId9" Type="http://schemas.openxmlformats.org/officeDocument/2006/relationships/tags" Target="../tags/tag404.xml"/><Relationship Id="rId14" Type="http://schemas.openxmlformats.org/officeDocument/2006/relationships/tags" Target="../tags/tag409.xml"/><Relationship Id="rId22" Type="http://schemas.openxmlformats.org/officeDocument/2006/relationships/tags" Target="../tags/tag417.xml"/><Relationship Id="rId27" Type="http://schemas.openxmlformats.org/officeDocument/2006/relationships/tags" Target="../tags/tag422.xml"/><Relationship Id="rId30" Type="http://schemas.openxmlformats.org/officeDocument/2006/relationships/tags" Target="../tags/tag425.xml"/><Relationship Id="rId35" Type="http://schemas.openxmlformats.org/officeDocument/2006/relationships/tags" Target="../tags/tag430.xml"/><Relationship Id="rId43" Type="http://schemas.openxmlformats.org/officeDocument/2006/relationships/tags" Target="../tags/tag438.xml"/><Relationship Id="rId48" Type="http://schemas.openxmlformats.org/officeDocument/2006/relationships/tags" Target="../tags/tag443.xml"/><Relationship Id="rId56" Type="http://schemas.openxmlformats.org/officeDocument/2006/relationships/tags" Target="../tags/tag451.xml"/><Relationship Id="rId64" Type="http://schemas.openxmlformats.org/officeDocument/2006/relationships/tags" Target="../tags/tag459.xml"/><Relationship Id="rId69" Type="http://schemas.openxmlformats.org/officeDocument/2006/relationships/tags" Target="../tags/tag464.xml"/><Relationship Id="rId77" Type="http://schemas.openxmlformats.org/officeDocument/2006/relationships/tags" Target="../tags/tag472.xml"/><Relationship Id="rId8" Type="http://schemas.openxmlformats.org/officeDocument/2006/relationships/tags" Target="../tags/tag403.xml"/><Relationship Id="rId51" Type="http://schemas.openxmlformats.org/officeDocument/2006/relationships/tags" Target="../tags/tag446.xml"/><Relationship Id="rId72" Type="http://schemas.openxmlformats.org/officeDocument/2006/relationships/tags" Target="../tags/tag467.xml"/><Relationship Id="rId80" Type="http://schemas.openxmlformats.org/officeDocument/2006/relationships/slideLayout" Target="../slideLayouts/slideLayout17.xml"/><Relationship Id="rId3" Type="http://schemas.openxmlformats.org/officeDocument/2006/relationships/tags" Target="../tags/tag398.xml"/><Relationship Id="rId12" Type="http://schemas.openxmlformats.org/officeDocument/2006/relationships/tags" Target="../tags/tag407.xml"/><Relationship Id="rId17" Type="http://schemas.openxmlformats.org/officeDocument/2006/relationships/tags" Target="../tags/tag412.xml"/><Relationship Id="rId25" Type="http://schemas.openxmlformats.org/officeDocument/2006/relationships/tags" Target="../tags/tag420.xml"/><Relationship Id="rId33" Type="http://schemas.openxmlformats.org/officeDocument/2006/relationships/tags" Target="../tags/tag428.xml"/><Relationship Id="rId38" Type="http://schemas.openxmlformats.org/officeDocument/2006/relationships/tags" Target="../tags/tag433.xml"/><Relationship Id="rId46" Type="http://schemas.openxmlformats.org/officeDocument/2006/relationships/tags" Target="../tags/tag441.xml"/><Relationship Id="rId59" Type="http://schemas.openxmlformats.org/officeDocument/2006/relationships/tags" Target="../tags/tag454.xml"/><Relationship Id="rId67" Type="http://schemas.openxmlformats.org/officeDocument/2006/relationships/tags" Target="../tags/tag462.xml"/><Relationship Id="rId20" Type="http://schemas.openxmlformats.org/officeDocument/2006/relationships/tags" Target="../tags/tag415.xml"/><Relationship Id="rId41" Type="http://schemas.openxmlformats.org/officeDocument/2006/relationships/tags" Target="../tags/tag436.xml"/><Relationship Id="rId54" Type="http://schemas.openxmlformats.org/officeDocument/2006/relationships/tags" Target="../tags/tag449.xml"/><Relationship Id="rId62" Type="http://schemas.openxmlformats.org/officeDocument/2006/relationships/tags" Target="../tags/tag457.xml"/><Relationship Id="rId70" Type="http://schemas.openxmlformats.org/officeDocument/2006/relationships/tags" Target="../tags/tag465.xml"/><Relationship Id="rId75" Type="http://schemas.openxmlformats.org/officeDocument/2006/relationships/tags" Target="../tags/tag470.xml"/><Relationship Id="rId1" Type="http://schemas.openxmlformats.org/officeDocument/2006/relationships/tags" Target="../tags/tag396.xml"/><Relationship Id="rId6" Type="http://schemas.openxmlformats.org/officeDocument/2006/relationships/tags" Target="../tags/tag401.xml"/><Relationship Id="rId15" Type="http://schemas.openxmlformats.org/officeDocument/2006/relationships/tags" Target="../tags/tag410.xml"/><Relationship Id="rId23" Type="http://schemas.openxmlformats.org/officeDocument/2006/relationships/tags" Target="../tags/tag418.xml"/><Relationship Id="rId28" Type="http://schemas.openxmlformats.org/officeDocument/2006/relationships/tags" Target="../tags/tag423.xml"/><Relationship Id="rId36" Type="http://schemas.openxmlformats.org/officeDocument/2006/relationships/tags" Target="../tags/tag431.xml"/><Relationship Id="rId49" Type="http://schemas.openxmlformats.org/officeDocument/2006/relationships/tags" Target="../tags/tag444.xml"/><Relationship Id="rId57" Type="http://schemas.openxmlformats.org/officeDocument/2006/relationships/tags" Target="../tags/tag452.xml"/></Relationships>
</file>

<file path=ppt/slides/_rels/slide15.xml.rels><?xml version="1.0" encoding="UTF-8" standalone="yes"?>
<Relationships xmlns="http://schemas.openxmlformats.org/package/2006/relationships"><Relationship Id="rId13" Type="http://schemas.openxmlformats.org/officeDocument/2006/relationships/tags" Target="../tags/tag487.xml"/><Relationship Id="rId18" Type="http://schemas.openxmlformats.org/officeDocument/2006/relationships/tags" Target="../tags/tag492.xml"/><Relationship Id="rId26" Type="http://schemas.openxmlformats.org/officeDocument/2006/relationships/tags" Target="../tags/tag500.xml"/><Relationship Id="rId39" Type="http://schemas.openxmlformats.org/officeDocument/2006/relationships/tags" Target="../tags/tag513.xml"/><Relationship Id="rId21" Type="http://schemas.openxmlformats.org/officeDocument/2006/relationships/tags" Target="../tags/tag495.xml"/><Relationship Id="rId34" Type="http://schemas.openxmlformats.org/officeDocument/2006/relationships/tags" Target="../tags/tag508.xml"/><Relationship Id="rId42" Type="http://schemas.openxmlformats.org/officeDocument/2006/relationships/tags" Target="../tags/tag516.xml"/><Relationship Id="rId47" Type="http://schemas.openxmlformats.org/officeDocument/2006/relationships/tags" Target="../tags/tag521.xml"/><Relationship Id="rId50" Type="http://schemas.openxmlformats.org/officeDocument/2006/relationships/tags" Target="../tags/tag524.xml"/><Relationship Id="rId55" Type="http://schemas.openxmlformats.org/officeDocument/2006/relationships/tags" Target="../tags/tag529.xml"/><Relationship Id="rId63" Type="http://schemas.openxmlformats.org/officeDocument/2006/relationships/tags" Target="../tags/tag537.xml"/><Relationship Id="rId68" Type="http://schemas.openxmlformats.org/officeDocument/2006/relationships/tags" Target="../tags/tag542.xml"/><Relationship Id="rId76" Type="http://schemas.openxmlformats.org/officeDocument/2006/relationships/tags" Target="../tags/tag550.xml"/><Relationship Id="rId7" Type="http://schemas.openxmlformats.org/officeDocument/2006/relationships/tags" Target="../tags/tag481.xml"/><Relationship Id="rId71" Type="http://schemas.openxmlformats.org/officeDocument/2006/relationships/tags" Target="../tags/tag545.xml"/><Relationship Id="rId2" Type="http://schemas.openxmlformats.org/officeDocument/2006/relationships/tags" Target="../tags/tag476.xml"/><Relationship Id="rId16" Type="http://schemas.openxmlformats.org/officeDocument/2006/relationships/tags" Target="../tags/tag490.xml"/><Relationship Id="rId29" Type="http://schemas.openxmlformats.org/officeDocument/2006/relationships/tags" Target="../tags/tag503.xml"/><Relationship Id="rId11" Type="http://schemas.openxmlformats.org/officeDocument/2006/relationships/tags" Target="../tags/tag485.xml"/><Relationship Id="rId24" Type="http://schemas.openxmlformats.org/officeDocument/2006/relationships/tags" Target="../tags/tag498.xml"/><Relationship Id="rId32" Type="http://schemas.openxmlformats.org/officeDocument/2006/relationships/tags" Target="../tags/tag506.xml"/><Relationship Id="rId37" Type="http://schemas.openxmlformats.org/officeDocument/2006/relationships/tags" Target="../tags/tag511.xml"/><Relationship Id="rId40" Type="http://schemas.openxmlformats.org/officeDocument/2006/relationships/tags" Target="../tags/tag514.xml"/><Relationship Id="rId45" Type="http://schemas.openxmlformats.org/officeDocument/2006/relationships/tags" Target="../tags/tag519.xml"/><Relationship Id="rId53" Type="http://schemas.openxmlformats.org/officeDocument/2006/relationships/tags" Target="../tags/tag527.xml"/><Relationship Id="rId58" Type="http://schemas.openxmlformats.org/officeDocument/2006/relationships/tags" Target="../tags/tag532.xml"/><Relationship Id="rId66" Type="http://schemas.openxmlformats.org/officeDocument/2006/relationships/tags" Target="../tags/tag540.xml"/><Relationship Id="rId74" Type="http://schemas.openxmlformats.org/officeDocument/2006/relationships/tags" Target="../tags/tag548.xml"/><Relationship Id="rId79" Type="http://schemas.openxmlformats.org/officeDocument/2006/relationships/tags" Target="../tags/tag553.xml"/><Relationship Id="rId5" Type="http://schemas.openxmlformats.org/officeDocument/2006/relationships/tags" Target="../tags/tag479.xml"/><Relationship Id="rId61" Type="http://schemas.openxmlformats.org/officeDocument/2006/relationships/tags" Target="../tags/tag535.xml"/><Relationship Id="rId10" Type="http://schemas.openxmlformats.org/officeDocument/2006/relationships/tags" Target="../tags/tag484.xml"/><Relationship Id="rId19" Type="http://schemas.openxmlformats.org/officeDocument/2006/relationships/tags" Target="../tags/tag493.xml"/><Relationship Id="rId31" Type="http://schemas.openxmlformats.org/officeDocument/2006/relationships/tags" Target="../tags/tag505.xml"/><Relationship Id="rId44" Type="http://schemas.openxmlformats.org/officeDocument/2006/relationships/tags" Target="../tags/tag518.xml"/><Relationship Id="rId52" Type="http://schemas.openxmlformats.org/officeDocument/2006/relationships/tags" Target="../tags/tag526.xml"/><Relationship Id="rId60" Type="http://schemas.openxmlformats.org/officeDocument/2006/relationships/tags" Target="../tags/tag534.xml"/><Relationship Id="rId65" Type="http://schemas.openxmlformats.org/officeDocument/2006/relationships/tags" Target="../tags/tag539.xml"/><Relationship Id="rId73" Type="http://schemas.openxmlformats.org/officeDocument/2006/relationships/tags" Target="../tags/tag547.xml"/><Relationship Id="rId78" Type="http://schemas.openxmlformats.org/officeDocument/2006/relationships/tags" Target="../tags/tag552.xml"/><Relationship Id="rId81" Type="http://schemas.openxmlformats.org/officeDocument/2006/relationships/chart" Target="../charts/chart11.xml"/><Relationship Id="rId4" Type="http://schemas.openxmlformats.org/officeDocument/2006/relationships/tags" Target="../tags/tag478.xml"/><Relationship Id="rId9" Type="http://schemas.openxmlformats.org/officeDocument/2006/relationships/tags" Target="../tags/tag483.xml"/><Relationship Id="rId14" Type="http://schemas.openxmlformats.org/officeDocument/2006/relationships/tags" Target="../tags/tag488.xml"/><Relationship Id="rId22" Type="http://schemas.openxmlformats.org/officeDocument/2006/relationships/tags" Target="../tags/tag496.xml"/><Relationship Id="rId27" Type="http://schemas.openxmlformats.org/officeDocument/2006/relationships/tags" Target="../tags/tag501.xml"/><Relationship Id="rId30" Type="http://schemas.openxmlformats.org/officeDocument/2006/relationships/tags" Target="../tags/tag504.xml"/><Relationship Id="rId35" Type="http://schemas.openxmlformats.org/officeDocument/2006/relationships/tags" Target="../tags/tag509.xml"/><Relationship Id="rId43" Type="http://schemas.openxmlformats.org/officeDocument/2006/relationships/tags" Target="../tags/tag517.xml"/><Relationship Id="rId48" Type="http://schemas.openxmlformats.org/officeDocument/2006/relationships/tags" Target="../tags/tag522.xml"/><Relationship Id="rId56" Type="http://schemas.openxmlformats.org/officeDocument/2006/relationships/tags" Target="../tags/tag530.xml"/><Relationship Id="rId64" Type="http://schemas.openxmlformats.org/officeDocument/2006/relationships/tags" Target="../tags/tag538.xml"/><Relationship Id="rId69" Type="http://schemas.openxmlformats.org/officeDocument/2006/relationships/tags" Target="../tags/tag543.xml"/><Relationship Id="rId77" Type="http://schemas.openxmlformats.org/officeDocument/2006/relationships/tags" Target="../tags/tag551.xml"/><Relationship Id="rId8" Type="http://schemas.openxmlformats.org/officeDocument/2006/relationships/tags" Target="../tags/tag482.xml"/><Relationship Id="rId51" Type="http://schemas.openxmlformats.org/officeDocument/2006/relationships/tags" Target="../tags/tag525.xml"/><Relationship Id="rId72" Type="http://schemas.openxmlformats.org/officeDocument/2006/relationships/tags" Target="../tags/tag546.xml"/><Relationship Id="rId80" Type="http://schemas.openxmlformats.org/officeDocument/2006/relationships/slideLayout" Target="../slideLayouts/slideLayout17.xml"/><Relationship Id="rId3" Type="http://schemas.openxmlformats.org/officeDocument/2006/relationships/tags" Target="../tags/tag477.xml"/><Relationship Id="rId12" Type="http://schemas.openxmlformats.org/officeDocument/2006/relationships/tags" Target="../tags/tag486.xml"/><Relationship Id="rId17" Type="http://schemas.openxmlformats.org/officeDocument/2006/relationships/tags" Target="../tags/tag491.xml"/><Relationship Id="rId25" Type="http://schemas.openxmlformats.org/officeDocument/2006/relationships/tags" Target="../tags/tag499.xml"/><Relationship Id="rId33" Type="http://schemas.openxmlformats.org/officeDocument/2006/relationships/tags" Target="../tags/tag507.xml"/><Relationship Id="rId38" Type="http://schemas.openxmlformats.org/officeDocument/2006/relationships/tags" Target="../tags/tag512.xml"/><Relationship Id="rId46" Type="http://schemas.openxmlformats.org/officeDocument/2006/relationships/tags" Target="../tags/tag520.xml"/><Relationship Id="rId59" Type="http://schemas.openxmlformats.org/officeDocument/2006/relationships/tags" Target="../tags/tag533.xml"/><Relationship Id="rId67" Type="http://schemas.openxmlformats.org/officeDocument/2006/relationships/tags" Target="../tags/tag541.xml"/><Relationship Id="rId20" Type="http://schemas.openxmlformats.org/officeDocument/2006/relationships/tags" Target="../tags/tag494.xml"/><Relationship Id="rId41" Type="http://schemas.openxmlformats.org/officeDocument/2006/relationships/tags" Target="../tags/tag515.xml"/><Relationship Id="rId54" Type="http://schemas.openxmlformats.org/officeDocument/2006/relationships/tags" Target="../tags/tag528.xml"/><Relationship Id="rId62" Type="http://schemas.openxmlformats.org/officeDocument/2006/relationships/tags" Target="../tags/tag536.xml"/><Relationship Id="rId70" Type="http://schemas.openxmlformats.org/officeDocument/2006/relationships/tags" Target="../tags/tag544.xml"/><Relationship Id="rId75" Type="http://schemas.openxmlformats.org/officeDocument/2006/relationships/tags" Target="../tags/tag549.xml"/><Relationship Id="rId1" Type="http://schemas.openxmlformats.org/officeDocument/2006/relationships/tags" Target="../tags/tag475.xml"/><Relationship Id="rId6" Type="http://schemas.openxmlformats.org/officeDocument/2006/relationships/tags" Target="../tags/tag480.xml"/><Relationship Id="rId15" Type="http://schemas.openxmlformats.org/officeDocument/2006/relationships/tags" Target="../tags/tag489.xml"/><Relationship Id="rId23" Type="http://schemas.openxmlformats.org/officeDocument/2006/relationships/tags" Target="../tags/tag497.xml"/><Relationship Id="rId28" Type="http://schemas.openxmlformats.org/officeDocument/2006/relationships/tags" Target="../tags/tag502.xml"/><Relationship Id="rId36" Type="http://schemas.openxmlformats.org/officeDocument/2006/relationships/tags" Target="../tags/tag510.xml"/><Relationship Id="rId49" Type="http://schemas.openxmlformats.org/officeDocument/2006/relationships/tags" Target="../tags/tag523.xml"/><Relationship Id="rId57" Type="http://schemas.openxmlformats.org/officeDocument/2006/relationships/tags" Target="../tags/tag531.xml"/></Relationships>
</file>

<file path=ppt/slides/_rels/slide16.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tags" Target="../tags/tag592.xml"/><Relationship Id="rId21" Type="http://schemas.openxmlformats.org/officeDocument/2006/relationships/tags" Target="../tags/tag574.xml"/><Relationship Id="rId34" Type="http://schemas.openxmlformats.org/officeDocument/2006/relationships/tags" Target="../tags/tag587.xml"/><Relationship Id="rId42" Type="http://schemas.openxmlformats.org/officeDocument/2006/relationships/tags" Target="../tags/tag595.xml"/><Relationship Id="rId47" Type="http://schemas.openxmlformats.org/officeDocument/2006/relationships/tags" Target="../tags/tag600.xml"/><Relationship Id="rId50" Type="http://schemas.openxmlformats.org/officeDocument/2006/relationships/tags" Target="../tags/tag603.xml"/><Relationship Id="rId55" Type="http://schemas.openxmlformats.org/officeDocument/2006/relationships/tags" Target="../tags/tag608.xml"/><Relationship Id="rId63" Type="http://schemas.openxmlformats.org/officeDocument/2006/relationships/tags" Target="../tags/tag616.xml"/><Relationship Id="rId68" Type="http://schemas.openxmlformats.org/officeDocument/2006/relationships/tags" Target="../tags/tag621.xml"/><Relationship Id="rId76" Type="http://schemas.openxmlformats.org/officeDocument/2006/relationships/tags" Target="../tags/tag629.xml"/><Relationship Id="rId7" Type="http://schemas.openxmlformats.org/officeDocument/2006/relationships/tags" Target="../tags/tag560.xml"/><Relationship Id="rId71" Type="http://schemas.openxmlformats.org/officeDocument/2006/relationships/tags" Target="../tags/tag624.xml"/><Relationship Id="rId2" Type="http://schemas.openxmlformats.org/officeDocument/2006/relationships/tags" Target="../tags/tag555.xml"/><Relationship Id="rId16" Type="http://schemas.openxmlformats.org/officeDocument/2006/relationships/tags" Target="../tags/tag569.xml"/><Relationship Id="rId29" Type="http://schemas.openxmlformats.org/officeDocument/2006/relationships/tags" Target="../tags/tag582.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tags" Target="../tags/tag585.xml"/><Relationship Id="rId37" Type="http://schemas.openxmlformats.org/officeDocument/2006/relationships/tags" Target="../tags/tag590.xml"/><Relationship Id="rId40" Type="http://schemas.openxmlformats.org/officeDocument/2006/relationships/tags" Target="../tags/tag593.xml"/><Relationship Id="rId45" Type="http://schemas.openxmlformats.org/officeDocument/2006/relationships/tags" Target="../tags/tag598.xml"/><Relationship Id="rId53" Type="http://schemas.openxmlformats.org/officeDocument/2006/relationships/tags" Target="../tags/tag606.xml"/><Relationship Id="rId58" Type="http://schemas.openxmlformats.org/officeDocument/2006/relationships/tags" Target="../tags/tag611.xml"/><Relationship Id="rId66" Type="http://schemas.openxmlformats.org/officeDocument/2006/relationships/tags" Target="../tags/tag619.xml"/><Relationship Id="rId74" Type="http://schemas.openxmlformats.org/officeDocument/2006/relationships/tags" Target="../tags/tag627.xml"/><Relationship Id="rId79" Type="http://schemas.openxmlformats.org/officeDocument/2006/relationships/tags" Target="../tags/tag632.xml"/><Relationship Id="rId5" Type="http://schemas.openxmlformats.org/officeDocument/2006/relationships/tags" Target="../tags/tag558.xml"/><Relationship Id="rId61" Type="http://schemas.openxmlformats.org/officeDocument/2006/relationships/tags" Target="../tags/tag614.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tags" Target="../tags/tag584.xml"/><Relationship Id="rId44" Type="http://schemas.openxmlformats.org/officeDocument/2006/relationships/tags" Target="../tags/tag597.xml"/><Relationship Id="rId52" Type="http://schemas.openxmlformats.org/officeDocument/2006/relationships/tags" Target="../tags/tag605.xml"/><Relationship Id="rId60" Type="http://schemas.openxmlformats.org/officeDocument/2006/relationships/tags" Target="../tags/tag613.xml"/><Relationship Id="rId65" Type="http://schemas.openxmlformats.org/officeDocument/2006/relationships/tags" Target="../tags/tag618.xml"/><Relationship Id="rId73" Type="http://schemas.openxmlformats.org/officeDocument/2006/relationships/tags" Target="../tags/tag626.xml"/><Relationship Id="rId78" Type="http://schemas.openxmlformats.org/officeDocument/2006/relationships/tags" Target="../tags/tag631.xml"/><Relationship Id="rId81" Type="http://schemas.openxmlformats.org/officeDocument/2006/relationships/chart" Target="../charts/chart12.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tags" Target="../tags/tag588.xml"/><Relationship Id="rId43" Type="http://schemas.openxmlformats.org/officeDocument/2006/relationships/tags" Target="../tags/tag596.xml"/><Relationship Id="rId48" Type="http://schemas.openxmlformats.org/officeDocument/2006/relationships/tags" Target="../tags/tag601.xml"/><Relationship Id="rId56" Type="http://schemas.openxmlformats.org/officeDocument/2006/relationships/tags" Target="../tags/tag609.xml"/><Relationship Id="rId64" Type="http://schemas.openxmlformats.org/officeDocument/2006/relationships/tags" Target="../tags/tag617.xml"/><Relationship Id="rId69" Type="http://schemas.openxmlformats.org/officeDocument/2006/relationships/tags" Target="../tags/tag622.xml"/><Relationship Id="rId77" Type="http://schemas.openxmlformats.org/officeDocument/2006/relationships/tags" Target="../tags/tag630.xml"/><Relationship Id="rId8" Type="http://schemas.openxmlformats.org/officeDocument/2006/relationships/tags" Target="../tags/tag561.xml"/><Relationship Id="rId51" Type="http://schemas.openxmlformats.org/officeDocument/2006/relationships/tags" Target="../tags/tag604.xml"/><Relationship Id="rId72" Type="http://schemas.openxmlformats.org/officeDocument/2006/relationships/tags" Target="../tags/tag625.xml"/><Relationship Id="rId80" Type="http://schemas.openxmlformats.org/officeDocument/2006/relationships/slideLayout" Target="../slideLayouts/slideLayout17.xml"/><Relationship Id="rId3" Type="http://schemas.openxmlformats.org/officeDocument/2006/relationships/tags" Target="../tags/tag556.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tags" Target="../tags/tag586.xml"/><Relationship Id="rId38" Type="http://schemas.openxmlformats.org/officeDocument/2006/relationships/tags" Target="../tags/tag591.xml"/><Relationship Id="rId46" Type="http://schemas.openxmlformats.org/officeDocument/2006/relationships/tags" Target="../tags/tag599.xml"/><Relationship Id="rId59" Type="http://schemas.openxmlformats.org/officeDocument/2006/relationships/tags" Target="../tags/tag612.xml"/><Relationship Id="rId67" Type="http://schemas.openxmlformats.org/officeDocument/2006/relationships/tags" Target="../tags/tag620.xml"/><Relationship Id="rId20" Type="http://schemas.openxmlformats.org/officeDocument/2006/relationships/tags" Target="../tags/tag573.xml"/><Relationship Id="rId41" Type="http://schemas.openxmlformats.org/officeDocument/2006/relationships/tags" Target="../tags/tag594.xml"/><Relationship Id="rId54" Type="http://schemas.openxmlformats.org/officeDocument/2006/relationships/tags" Target="../tags/tag607.xml"/><Relationship Id="rId62" Type="http://schemas.openxmlformats.org/officeDocument/2006/relationships/tags" Target="../tags/tag615.xml"/><Relationship Id="rId70" Type="http://schemas.openxmlformats.org/officeDocument/2006/relationships/tags" Target="../tags/tag623.xml"/><Relationship Id="rId75" Type="http://schemas.openxmlformats.org/officeDocument/2006/relationships/tags" Target="../tags/tag628.xml"/><Relationship Id="rId1" Type="http://schemas.openxmlformats.org/officeDocument/2006/relationships/tags" Target="../tags/tag554.xml"/><Relationship Id="rId6" Type="http://schemas.openxmlformats.org/officeDocument/2006/relationships/tags" Target="../tags/tag559.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tags" Target="../tags/tag589.xml"/><Relationship Id="rId49" Type="http://schemas.openxmlformats.org/officeDocument/2006/relationships/tags" Target="../tags/tag602.xml"/><Relationship Id="rId57" Type="http://schemas.openxmlformats.org/officeDocument/2006/relationships/tags" Target="../tags/tag610.xml"/></Relationships>
</file>

<file path=ppt/slides/_rels/slide17.xml.rels><?xml version="1.0" encoding="UTF-8" standalone="yes"?>
<Relationships xmlns="http://schemas.openxmlformats.org/package/2006/relationships"><Relationship Id="rId13" Type="http://schemas.openxmlformats.org/officeDocument/2006/relationships/tags" Target="../tags/tag645.xml"/><Relationship Id="rId18" Type="http://schemas.openxmlformats.org/officeDocument/2006/relationships/tags" Target="../tags/tag650.xml"/><Relationship Id="rId26" Type="http://schemas.openxmlformats.org/officeDocument/2006/relationships/tags" Target="../tags/tag658.xml"/><Relationship Id="rId39" Type="http://schemas.openxmlformats.org/officeDocument/2006/relationships/tags" Target="../tags/tag671.xml"/><Relationship Id="rId21" Type="http://schemas.openxmlformats.org/officeDocument/2006/relationships/tags" Target="../tags/tag653.xml"/><Relationship Id="rId34" Type="http://schemas.openxmlformats.org/officeDocument/2006/relationships/tags" Target="../tags/tag666.xml"/><Relationship Id="rId42" Type="http://schemas.openxmlformats.org/officeDocument/2006/relationships/tags" Target="../tags/tag674.xml"/><Relationship Id="rId47" Type="http://schemas.openxmlformats.org/officeDocument/2006/relationships/tags" Target="../tags/tag679.xml"/><Relationship Id="rId50" Type="http://schemas.openxmlformats.org/officeDocument/2006/relationships/tags" Target="../tags/tag682.xml"/><Relationship Id="rId55" Type="http://schemas.openxmlformats.org/officeDocument/2006/relationships/tags" Target="../tags/tag687.xml"/><Relationship Id="rId63" Type="http://schemas.openxmlformats.org/officeDocument/2006/relationships/tags" Target="../tags/tag695.xml"/><Relationship Id="rId68" Type="http://schemas.openxmlformats.org/officeDocument/2006/relationships/tags" Target="../tags/tag700.xml"/><Relationship Id="rId76" Type="http://schemas.openxmlformats.org/officeDocument/2006/relationships/tags" Target="../tags/tag708.xml"/><Relationship Id="rId7" Type="http://schemas.openxmlformats.org/officeDocument/2006/relationships/tags" Target="../tags/tag639.xml"/><Relationship Id="rId71" Type="http://schemas.openxmlformats.org/officeDocument/2006/relationships/tags" Target="../tags/tag703.xml"/><Relationship Id="rId2" Type="http://schemas.openxmlformats.org/officeDocument/2006/relationships/tags" Target="../tags/tag634.xml"/><Relationship Id="rId16" Type="http://schemas.openxmlformats.org/officeDocument/2006/relationships/tags" Target="../tags/tag648.xml"/><Relationship Id="rId29" Type="http://schemas.openxmlformats.org/officeDocument/2006/relationships/tags" Target="../tags/tag661.xml"/><Relationship Id="rId11" Type="http://schemas.openxmlformats.org/officeDocument/2006/relationships/tags" Target="../tags/tag643.xml"/><Relationship Id="rId24" Type="http://schemas.openxmlformats.org/officeDocument/2006/relationships/tags" Target="../tags/tag656.xml"/><Relationship Id="rId32" Type="http://schemas.openxmlformats.org/officeDocument/2006/relationships/tags" Target="../tags/tag664.xml"/><Relationship Id="rId37" Type="http://schemas.openxmlformats.org/officeDocument/2006/relationships/tags" Target="../tags/tag669.xml"/><Relationship Id="rId40" Type="http://schemas.openxmlformats.org/officeDocument/2006/relationships/tags" Target="../tags/tag672.xml"/><Relationship Id="rId45" Type="http://schemas.openxmlformats.org/officeDocument/2006/relationships/tags" Target="../tags/tag677.xml"/><Relationship Id="rId53" Type="http://schemas.openxmlformats.org/officeDocument/2006/relationships/tags" Target="../tags/tag685.xml"/><Relationship Id="rId58" Type="http://schemas.openxmlformats.org/officeDocument/2006/relationships/tags" Target="../tags/tag690.xml"/><Relationship Id="rId66" Type="http://schemas.openxmlformats.org/officeDocument/2006/relationships/tags" Target="../tags/tag698.xml"/><Relationship Id="rId74" Type="http://schemas.openxmlformats.org/officeDocument/2006/relationships/tags" Target="../tags/tag706.xml"/><Relationship Id="rId79" Type="http://schemas.openxmlformats.org/officeDocument/2006/relationships/tags" Target="../tags/tag711.xml"/><Relationship Id="rId5" Type="http://schemas.openxmlformats.org/officeDocument/2006/relationships/tags" Target="../tags/tag637.xml"/><Relationship Id="rId61" Type="http://schemas.openxmlformats.org/officeDocument/2006/relationships/tags" Target="../tags/tag693.xml"/><Relationship Id="rId10" Type="http://schemas.openxmlformats.org/officeDocument/2006/relationships/tags" Target="../tags/tag642.xml"/><Relationship Id="rId19" Type="http://schemas.openxmlformats.org/officeDocument/2006/relationships/tags" Target="../tags/tag651.xml"/><Relationship Id="rId31" Type="http://schemas.openxmlformats.org/officeDocument/2006/relationships/tags" Target="../tags/tag663.xml"/><Relationship Id="rId44" Type="http://schemas.openxmlformats.org/officeDocument/2006/relationships/tags" Target="../tags/tag676.xml"/><Relationship Id="rId52" Type="http://schemas.openxmlformats.org/officeDocument/2006/relationships/tags" Target="../tags/tag684.xml"/><Relationship Id="rId60" Type="http://schemas.openxmlformats.org/officeDocument/2006/relationships/tags" Target="../tags/tag692.xml"/><Relationship Id="rId65" Type="http://schemas.openxmlformats.org/officeDocument/2006/relationships/tags" Target="../tags/tag697.xml"/><Relationship Id="rId73" Type="http://schemas.openxmlformats.org/officeDocument/2006/relationships/tags" Target="../tags/tag705.xml"/><Relationship Id="rId78" Type="http://schemas.openxmlformats.org/officeDocument/2006/relationships/tags" Target="../tags/tag710.xml"/><Relationship Id="rId81" Type="http://schemas.openxmlformats.org/officeDocument/2006/relationships/chart" Target="../charts/chart13.xml"/><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tags" Target="../tags/tag646.xml"/><Relationship Id="rId22" Type="http://schemas.openxmlformats.org/officeDocument/2006/relationships/tags" Target="../tags/tag654.xml"/><Relationship Id="rId27" Type="http://schemas.openxmlformats.org/officeDocument/2006/relationships/tags" Target="../tags/tag659.xml"/><Relationship Id="rId30" Type="http://schemas.openxmlformats.org/officeDocument/2006/relationships/tags" Target="../tags/tag662.xml"/><Relationship Id="rId35" Type="http://schemas.openxmlformats.org/officeDocument/2006/relationships/tags" Target="../tags/tag667.xml"/><Relationship Id="rId43" Type="http://schemas.openxmlformats.org/officeDocument/2006/relationships/tags" Target="../tags/tag675.xml"/><Relationship Id="rId48" Type="http://schemas.openxmlformats.org/officeDocument/2006/relationships/tags" Target="../tags/tag680.xml"/><Relationship Id="rId56" Type="http://schemas.openxmlformats.org/officeDocument/2006/relationships/tags" Target="../tags/tag688.xml"/><Relationship Id="rId64" Type="http://schemas.openxmlformats.org/officeDocument/2006/relationships/tags" Target="../tags/tag696.xml"/><Relationship Id="rId69" Type="http://schemas.openxmlformats.org/officeDocument/2006/relationships/tags" Target="../tags/tag701.xml"/><Relationship Id="rId77" Type="http://schemas.openxmlformats.org/officeDocument/2006/relationships/tags" Target="../tags/tag709.xml"/><Relationship Id="rId8" Type="http://schemas.openxmlformats.org/officeDocument/2006/relationships/tags" Target="../tags/tag640.xml"/><Relationship Id="rId51" Type="http://schemas.openxmlformats.org/officeDocument/2006/relationships/tags" Target="../tags/tag683.xml"/><Relationship Id="rId72" Type="http://schemas.openxmlformats.org/officeDocument/2006/relationships/tags" Target="../tags/tag704.xml"/><Relationship Id="rId80" Type="http://schemas.openxmlformats.org/officeDocument/2006/relationships/slideLayout" Target="../slideLayouts/slideLayout17.xml"/><Relationship Id="rId3" Type="http://schemas.openxmlformats.org/officeDocument/2006/relationships/tags" Target="../tags/tag635.xml"/><Relationship Id="rId12" Type="http://schemas.openxmlformats.org/officeDocument/2006/relationships/tags" Target="../tags/tag644.xml"/><Relationship Id="rId17" Type="http://schemas.openxmlformats.org/officeDocument/2006/relationships/tags" Target="../tags/tag649.xml"/><Relationship Id="rId25" Type="http://schemas.openxmlformats.org/officeDocument/2006/relationships/tags" Target="../tags/tag657.xml"/><Relationship Id="rId33" Type="http://schemas.openxmlformats.org/officeDocument/2006/relationships/tags" Target="../tags/tag665.xml"/><Relationship Id="rId38" Type="http://schemas.openxmlformats.org/officeDocument/2006/relationships/tags" Target="../tags/tag670.xml"/><Relationship Id="rId46" Type="http://schemas.openxmlformats.org/officeDocument/2006/relationships/tags" Target="../tags/tag678.xml"/><Relationship Id="rId59" Type="http://schemas.openxmlformats.org/officeDocument/2006/relationships/tags" Target="../tags/tag691.xml"/><Relationship Id="rId67" Type="http://schemas.openxmlformats.org/officeDocument/2006/relationships/tags" Target="../tags/tag699.xml"/><Relationship Id="rId20" Type="http://schemas.openxmlformats.org/officeDocument/2006/relationships/tags" Target="../tags/tag652.xml"/><Relationship Id="rId41" Type="http://schemas.openxmlformats.org/officeDocument/2006/relationships/tags" Target="../tags/tag673.xml"/><Relationship Id="rId54" Type="http://schemas.openxmlformats.org/officeDocument/2006/relationships/tags" Target="../tags/tag686.xml"/><Relationship Id="rId62" Type="http://schemas.openxmlformats.org/officeDocument/2006/relationships/tags" Target="../tags/tag694.xml"/><Relationship Id="rId70" Type="http://schemas.openxmlformats.org/officeDocument/2006/relationships/tags" Target="../tags/tag702.xml"/><Relationship Id="rId75" Type="http://schemas.openxmlformats.org/officeDocument/2006/relationships/tags" Target="../tags/tag707.xml"/><Relationship Id="rId1" Type="http://schemas.openxmlformats.org/officeDocument/2006/relationships/tags" Target="../tags/tag633.xml"/><Relationship Id="rId6" Type="http://schemas.openxmlformats.org/officeDocument/2006/relationships/tags" Target="../tags/tag638.xml"/><Relationship Id="rId15" Type="http://schemas.openxmlformats.org/officeDocument/2006/relationships/tags" Target="../tags/tag647.xml"/><Relationship Id="rId23" Type="http://schemas.openxmlformats.org/officeDocument/2006/relationships/tags" Target="../tags/tag655.xml"/><Relationship Id="rId28" Type="http://schemas.openxmlformats.org/officeDocument/2006/relationships/tags" Target="../tags/tag660.xml"/><Relationship Id="rId36" Type="http://schemas.openxmlformats.org/officeDocument/2006/relationships/tags" Target="../tags/tag668.xml"/><Relationship Id="rId49" Type="http://schemas.openxmlformats.org/officeDocument/2006/relationships/tags" Target="../tags/tag681.xml"/><Relationship Id="rId57" Type="http://schemas.openxmlformats.org/officeDocument/2006/relationships/tags" Target="../tags/tag689.xml"/></Relationships>
</file>

<file path=ppt/slides/_rels/slide18.xml.rels><?xml version="1.0" encoding="UTF-8" standalone="yes"?>
<Relationships xmlns="http://schemas.openxmlformats.org/package/2006/relationships"><Relationship Id="rId13" Type="http://schemas.openxmlformats.org/officeDocument/2006/relationships/tags" Target="../tags/tag724.xml"/><Relationship Id="rId18" Type="http://schemas.openxmlformats.org/officeDocument/2006/relationships/tags" Target="../tags/tag729.xml"/><Relationship Id="rId26" Type="http://schemas.openxmlformats.org/officeDocument/2006/relationships/tags" Target="../tags/tag737.xml"/><Relationship Id="rId39" Type="http://schemas.openxmlformats.org/officeDocument/2006/relationships/tags" Target="../tags/tag750.xml"/><Relationship Id="rId21" Type="http://schemas.openxmlformats.org/officeDocument/2006/relationships/tags" Target="../tags/tag732.xml"/><Relationship Id="rId34" Type="http://schemas.openxmlformats.org/officeDocument/2006/relationships/tags" Target="../tags/tag745.xml"/><Relationship Id="rId42" Type="http://schemas.openxmlformats.org/officeDocument/2006/relationships/tags" Target="../tags/tag753.xml"/><Relationship Id="rId47" Type="http://schemas.openxmlformats.org/officeDocument/2006/relationships/tags" Target="../tags/tag758.xml"/><Relationship Id="rId50" Type="http://schemas.openxmlformats.org/officeDocument/2006/relationships/tags" Target="../tags/tag761.xml"/><Relationship Id="rId55" Type="http://schemas.openxmlformats.org/officeDocument/2006/relationships/tags" Target="../tags/tag766.xml"/><Relationship Id="rId63" Type="http://schemas.openxmlformats.org/officeDocument/2006/relationships/tags" Target="../tags/tag774.xml"/><Relationship Id="rId68" Type="http://schemas.openxmlformats.org/officeDocument/2006/relationships/tags" Target="../tags/tag779.xml"/><Relationship Id="rId76" Type="http://schemas.openxmlformats.org/officeDocument/2006/relationships/tags" Target="../tags/tag787.xml"/><Relationship Id="rId7" Type="http://schemas.openxmlformats.org/officeDocument/2006/relationships/tags" Target="../tags/tag718.xml"/><Relationship Id="rId71" Type="http://schemas.openxmlformats.org/officeDocument/2006/relationships/tags" Target="../tags/tag782.xml"/><Relationship Id="rId2" Type="http://schemas.openxmlformats.org/officeDocument/2006/relationships/tags" Target="../tags/tag713.xml"/><Relationship Id="rId16" Type="http://schemas.openxmlformats.org/officeDocument/2006/relationships/tags" Target="../tags/tag727.xml"/><Relationship Id="rId29" Type="http://schemas.openxmlformats.org/officeDocument/2006/relationships/tags" Target="../tags/tag740.xml"/><Relationship Id="rId11" Type="http://schemas.openxmlformats.org/officeDocument/2006/relationships/tags" Target="../tags/tag722.xml"/><Relationship Id="rId24" Type="http://schemas.openxmlformats.org/officeDocument/2006/relationships/tags" Target="../tags/tag735.xml"/><Relationship Id="rId32" Type="http://schemas.openxmlformats.org/officeDocument/2006/relationships/tags" Target="../tags/tag743.xml"/><Relationship Id="rId37" Type="http://schemas.openxmlformats.org/officeDocument/2006/relationships/tags" Target="../tags/tag748.xml"/><Relationship Id="rId40" Type="http://schemas.openxmlformats.org/officeDocument/2006/relationships/tags" Target="../tags/tag751.xml"/><Relationship Id="rId45" Type="http://schemas.openxmlformats.org/officeDocument/2006/relationships/tags" Target="../tags/tag756.xml"/><Relationship Id="rId53" Type="http://schemas.openxmlformats.org/officeDocument/2006/relationships/tags" Target="../tags/tag764.xml"/><Relationship Id="rId58" Type="http://schemas.openxmlformats.org/officeDocument/2006/relationships/tags" Target="../tags/tag769.xml"/><Relationship Id="rId66" Type="http://schemas.openxmlformats.org/officeDocument/2006/relationships/tags" Target="../tags/tag777.xml"/><Relationship Id="rId74" Type="http://schemas.openxmlformats.org/officeDocument/2006/relationships/tags" Target="../tags/tag785.xml"/><Relationship Id="rId79" Type="http://schemas.openxmlformats.org/officeDocument/2006/relationships/tags" Target="../tags/tag790.xml"/><Relationship Id="rId5" Type="http://schemas.openxmlformats.org/officeDocument/2006/relationships/tags" Target="../tags/tag716.xml"/><Relationship Id="rId61" Type="http://schemas.openxmlformats.org/officeDocument/2006/relationships/tags" Target="../tags/tag772.xml"/><Relationship Id="rId10" Type="http://schemas.openxmlformats.org/officeDocument/2006/relationships/tags" Target="../tags/tag721.xml"/><Relationship Id="rId19" Type="http://schemas.openxmlformats.org/officeDocument/2006/relationships/tags" Target="../tags/tag730.xml"/><Relationship Id="rId31" Type="http://schemas.openxmlformats.org/officeDocument/2006/relationships/tags" Target="../tags/tag742.xml"/><Relationship Id="rId44" Type="http://schemas.openxmlformats.org/officeDocument/2006/relationships/tags" Target="../tags/tag755.xml"/><Relationship Id="rId52" Type="http://schemas.openxmlformats.org/officeDocument/2006/relationships/tags" Target="../tags/tag763.xml"/><Relationship Id="rId60" Type="http://schemas.openxmlformats.org/officeDocument/2006/relationships/tags" Target="../tags/tag771.xml"/><Relationship Id="rId65" Type="http://schemas.openxmlformats.org/officeDocument/2006/relationships/tags" Target="../tags/tag776.xml"/><Relationship Id="rId73" Type="http://schemas.openxmlformats.org/officeDocument/2006/relationships/tags" Target="../tags/tag784.xml"/><Relationship Id="rId78" Type="http://schemas.openxmlformats.org/officeDocument/2006/relationships/tags" Target="../tags/tag789.xml"/><Relationship Id="rId81" Type="http://schemas.openxmlformats.org/officeDocument/2006/relationships/chart" Target="../charts/chart14.xml"/><Relationship Id="rId4" Type="http://schemas.openxmlformats.org/officeDocument/2006/relationships/tags" Target="../tags/tag715.xml"/><Relationship Id="rId9" Type="http://schemas.openxmlformats.org/officeDocument/2006/relationships/tags" Target="../tags/tag720.xml"/><Relationship Id="rId14" Type="http://schemas.openxmlformats.org/officeDocument/2006/relationships/tags" Target="../tags/tag725.xml"/><Relationship Id="rId22" Type="http://schemas.openxmlformats.org/officeDocument/2006/relationships/tags" Target="../tags/tag733.xml"/><Relationship Id="rId27" Type="http://schemas.openxmlformats.org/officeDocument/2006/relationships/tags" Target="../tags/tag738.xml"/><Relationship Id="rId30" Type="http://schemas.openxmlformats.org/officeDocument/2006/relationships/tags" Target="../tags/tag741.xml"/><Relationship Id="rId35" Type="http://schemas.openxmlformats.org/officeDocument/2006/relationships/tags" Target="../tags/tag746.xml"/><Relationship Id="rId43" Type="http://schemas.openxmlformats.org/officeDocument/2006/relationships/tags" Target="../tags/tag754.xml"/><Relationship Id="rId48" Type="http://schemas.openxmlformats.org/officeDocument/2006/relationships/tags" Target="../tags/tag759.xml"/><Relationship Id="rId56" Type="http://schemas.openxmlformats.org/officeDocument/2006/relationships/tags" Target="../tags/tag767.xml"/><Relationship Id="rId64" Type="http://schemas.openxmlformats.org/officeDocument/2006/relationships/tags" Target="../tags/tag775.xml"/><Relationship Id="rId69" Type="http://schemas.openxmlformats.org/officeDocument/2006/relationships/tags" Target="../tags/tag780.xml"/><Relationship Id="rId77" Type="http://schemas.openxmlformats.org/officeDocument/2006/relationships/tags" Target="../tags/tag788.xml"/><Relationship Id="rId8" Type="http://schemas.openxmlformats.org/officeDocument/2006/relationships/tags" Target="../tags/tag719.xml"/><Relationship Id="rId51" Type="http://schemas.openxmlformats.org/officeDocument/2006/relationships/tags" Target="../tags/tag762.xml"/><Relationship Id="rId72" Type="http://schemas.openxmlformats.org/officeDocument/2006/relationships/tags" Target="../tags/tag783.xml"/><Relationship Id="rId80" Type="http://schemas.openxmlformats.org/officeDocument/2006/relationships/slideLayout" Target="../slideLayouts/slideLayout17.xml"/><Relationship Id="rId3" Type="http://schemas.openxmlformats.org/officeDocument/2006/relationships/tags" Target="../tags/tag714.xml"/><Relationship Id="rId12" Type="http://schemas.openxmlformats.org/officeDocument/2006/relationships/tags" Target="../tags/tag723.xml"/><Relationship Id="rId17" Type="http://schemas.openxmlformats.org/officeDocument/2006/relationships/tags" Target="../tags/tag728.xml"/><Relationship Id="rId25" Type="http://schemas.openxmlformats.org/officeDocument/2006/relationships/tags" Target="../tags/tag736.xml"/><Relationship Id="rId33" Type="http://schemas.openxmlformats.org/officeDocument/2006/relationships/tags" Target="../tags/tag744.xml"/><Relationship Id="rId38" Type="http://schemas.openxmlformats.org/officeDocument/2006/relationships/tags" Target="../tags/tag749.xml"/><Relationship Id="rId46" Type="http://schemas.openxmlformats.org/officeDocument/2006/relationships/tags" Target="../tags/tag757.xml"/><Relationship Id="rId59" Type="http://schemas.openxmlformats.org/officeDocument/2006/relationships/tags" Target="../tags/tag770.xml"/><Relationship Id="rId67" Type="http://schemas.openxmlformats.org/officeDocument/2006/relationships/tags" Target="../tags/tag778.xml"/><Relationship Id="rId20" Type="http://schemas.openxmlformats.org/officeDocument/2006/relationships/tags" Target="../tags/tag731.xml"/><Relationship Id="rId41" Type="http://schemas.openxmlformats.org/officeDocument/2006/relationships/tags" Target="../tags/tag752.xml"/><Relationship Id="rId54" Type="http://schemas.openxmlformats.org/officeDocument/2006/relationships/tags" Target="../tags/tag765.xml"/><Relationship Id="rId62" Type="http://schemas.openxmlformats.org/officeDocument/2006/relationships/tags" Target="../tags/tag773.xml"/><Relationship Id="rId70" Type="http://schemas.openxmlformats.org/officeDocument/2006/relationships/tags" Target="../tags/tag781.xml"/><Relationship Id="rId75" Type="http://schemas.openxmlformats.org/officeDocument/2006/relationships/tags" Target="../tags/tag786.xml"/><Relationship Id="rId1" Type="http://schemas.openxmlformats.org/officeDocument/2006/relationships/tags" Target="../tags/tag712.xml"/><Relationship Id="rId6" Type="http://schemas.openxmlformats.org/officeDocument/2006/relationships/tags" Target="../tags/tag717.xml"/><Relationship Id="rId15" Type="http://schemas.openxmlformats.org/officeDocument/2006/relationships/tags" Target="../tags/tag726.xml"/><Relationship Id="rId23" Type="http://schemas.openxmlformats.org/officeDocument/2006/relationships/tags" Target="../tags/tag734.xml"/><Relationship Id="rId28" Type="http://schemas.openxmlformats.org/officeDocument/2006/relationships/tags" Target="../tags/tag739.xml"/><Relationship Id="rId36" Type="http://schemas.openxmlformats.org/officeDocument/2006/relationships/tags" Target="../tags/tag747.xml"/><Relationship Id="rId49" Type="http://schemas.openxmlformats.org/officeDocument/2006/relationships/tags" Target="../tags/tag760.xml"/><Relationship Id="rId57" Type="http://schemas.openxmlformats.org/officeDocument/2006/relationships/tags" Target="../tags/tag76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7.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61" Type="http://schemas.openxmlformats.org/officeDocument/2006/relationships/tags" Target="../tags/tag6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chart" Target="../charts/chart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slideLayout" Target="../slideLayouts/slideLayout17.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ов контейнер 1">
            <a:extLst>
              <a:ext uri="{FF2B5EF4-FFF2-40B4-BE49-F238E27FC236}">
                <a16:creationId xmlns:a16="http://schemas.microsoft.com/office/drawing/2014/main" id="{961D90A8-E521-4D06-81F9-C42B7065FF90}"/>
              </a:ext>
            </a:extLst>
          </p:cNvPr>
          <p:cNvSpPr>
            <a:spLocks noGrp="1"/>
          </p:cNvSpPr>
          <p:nvPr>
            <p:ph type="body" sz="quarter" idx="11"/>
          </p:nvPr>
        </p:nvSpPr>
        <p:spPr/>
        <p:txBody>
          <a:bodyPr/>
          <a:lstStyle/>
          <a:p>
            <a:r>
              <a:rPr lang="bg-BG" i="1" dirty="0"/>
              <a:t>Ноември 2022</a:t>
            </a:r>
          </a:p>
        </p:txBody>
      </p:sp>
      <p:sp>
        <p:nvSpPr>
          <p:cNvPr id="6" name="Заглавие 2">
            <a:extLst>
              <a:ext uri="{FF2B5EF4-FFF2-40B4-BE49-F238E27FC236}">
                <a16:creationId xmlns:a16="http://schemas.microsoft.com/office/drawing/2014/main" id="{FB99876E-A32C-406B-A9A5-DAAF834CFA9A}"/>
              </a:ext>
            </a:extLst>
          </p:cNvPr>
          <p:cNvSpPr>
            <a:spLocks noGrp="1"/>
          </p:cNvSpPr>
          <p:nvPr>
            <p:ph type="title"/>
          </p:nvPr>
        </p:nvSpPr>
        <p:spPr>
          <a:xfrm>
            <a:off x="2553652" y="994410"/>
            <a:ext cx="8658225" cy="3404870"/>
          </a:xfrm>
        </p:spPr>
        <p:txBody>
          <a:bodyPr/>
          <a:lstStyle/>
          <a:p>
            <a:r>
              <a:rPr lang="bg-BG" sz="4000" dirty="0"/>
              <a:t>ОБЩЕСТВЕНИ НАГЛАСИ ЗА ВЪВЕЖДАНЕТО НА ЕВРОТО В БЪЛГАРИЯ </a:t>
            </a:r>
            <a:br>
              <a:rPr lang="bg-BG" sz="4000" dirty="0"/>
            </a:br>
            <a:r>
              <a:rPr lang="en-US" sz="4000" dirty="0"/>
              <a:t/>
            </a:r>
            <a:br>
              <a:rPr lang="en-US" sz="4000" dirty="0"/>
            </a:br>
            <a:r>
              <a:rPr lang="bg-BG" sz="3600" dirty="0"/>
              <a:t>Резултати от национално представително проучване и проучване сред бизнеса</a:t>
            </a:r>
          </a:p>
        </p:txBody>
      </p:sp>
    </p:spTree>
    <p:extLst>
      <p:ext uri="{BB962C8B-B14F-4D97-AF65-F5344CB8AC3E}">
        <p14:creationId xmlns:p14="http://schemas.microsoft.com/office/powerpoint/2010/main" val="32801501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fontScale="90000"/>
          </a:bodyPr>
          <a:lstStyle/>
          <a:p>
            <a:r>
              <a:rPr lang="bg-BG" sz="2500" dirty="0">
                <a:solidFill>
                  <a:schemeClr val="accent2"/>
                </a:solidFill>
              </a:rPr>
              <a:t>БИЗНЕС – ОЧАКВАНИ ЕФЕКТИ ОТ ВЪВЕЖДАНЕТО НА ЕВРОТО ВЪРХУ ИКОНОМИКАТА НА БЪЛГАРИЯ</a:t>
            </a:r>
            <a:r>
              <a:rPr lang="en-US" sz="2500" dirty="0">
                <a:solidFill>
                  <a:schemeClr val="accent2"/>
                </a:solidFill>
              </a:rPr>
              <a:t> </a:t>
            </a:r>
            <a:r>
              <a:rPr lang="bg-BG" sz="2500" dirty="0">
                <a:solidFill>
                  <a:schemeClr val="accent2"/>
                </a:solidFill>
              </a:rPr>
              <a:t>И КОМПАНИЯТА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0</a:t>
            </a:fld>
            <a:endParaRPr lang="bg-BG" dirty="0"/>
          </a:p>
        </p:txBody>
      </p:sp>
      <p:graphicFrame>
        <p:nvGraphicFramePr>
          <p:cNvPr id="7" name="Диаграма 6">
            <a:extLst>
              <a:ext uri="{FF2B5EF4-FFF2-40B4-BE49-F238E27FC236}">
                <a16:creationId xmlns:a16="http://schemas.microsoft.com/office/drawing/2014/main" id="{165D9EA0-7001-0B73-CADD-4AD5BD5BD88C}"/>
              </a:ext>
            </a:extLst>
          </p:cNvPr>
          <p:cNvGraphicFramePr/>
          <p:nvPr>
            <p:extLst>
              <p:ext uri="{D42A27DB-BD31-4B8C-83A1-F6EECF244321}">
                <p14:modId xmlns:p14="http://schemas.microsoft.com/office/powerpoint/2010/main" val="3566910082"/>
              </p:ext>
            </p:extLst>
          </p:nvPr>
        </p:nvGraphicFramePr>
        <p:xfrm>
          <a:off x="2031999" y="981268"/>
          <a:ext cx="8978507" cy="5157065"/>
        </p:xfrm>
        <a:graphic>
          <a:graphicData uri="http://schemas.openxmlformats.org/drawingml/2006/chart">
            <c:chart xmlns:c="http://schemas.openxmlformats.org/drawingml/2006/chart" xmlns:r="http://schemas.openxmlformats.org/officeDocument/2006/relationships" r:id="rId81"/>
          </a:graphicData>
        </a:graphic>
      </p:graphicFrame>
    </p:spTree>
    <p:extLst>
      <p:ext uri="{BB962C8B-B14F-4D97-AF65-F5344CB8AC3E}">
        <p14:creationId xmlns:p14="http://schemas.microsoft.com/office/powerpoint/2010/main" val="4148851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a:bodyPr>
          <a:lstStyle/>
          <a:p>
            <a:r>
              <a:rPr lang="bg-BG" sz="2400" dirty="0">
                <a:solidFill>
                  <a:schemeClr val="accent2"/>
                </a:solidFill>
              </a:rPr>
              <a:t>ОЧАКВАНИ ПОЗИТИВНИ ЕФЕКТИ ОТ ВЪВЕЖДАНЕ НА ЕВРОТО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1</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3445131475"/>
              </p:ext>
            </p:extLst>
          </p:nvPr>
        </p:nvGraphicFramePr>
        <p:xfrm>
          <a:off x="2031999" y="1165418"/>
          <a:ext cx="8695703" cy="4972915"/>
        </p:xfrm>
        <a:graphic>
          <a:graphicData uri="http://schemas.openxmlformats.org/drawingml/2006/chart">
            <c:chart xmlns:c="http://schemas.openxmlformats.org/drawingml/2006/chart" xmlns:r="http://schemas.openxmlformats.org/officeDocument/2006/relationships" r:id="rId81"/>
          </a:graphicData>
        </a:graphic>
      </p:graphicFrame>
      <p:sp>
        <p:nvSpPr>
          <p:cNvPr id="109" name="Текстово поле 108">
            <a:extLst>
              <a:ext uri="{FF2B5EF4-FFF2-40B4-BE49-F238E27FC236}">
                <a16:creationId xmlns:a16="http://schemas.microsoft.com/office/drawing/2014/main" id="{67240844-4704-B09A-7074-BD34F9CBCBFF}"/>
              </a:ext>
            </a:extLst>
          </p:cNvPr>
          <p:cNvSpPr txBox="1"/>
          <p:nvPr/>
        </p:nvSpPr>
        <p:spPr>
          <a:xfrm>
            <a:off x="8267555" y="1614734"/>
            <a:ext cx="966452" cy="276999"/>
          </a:xfrm>
          <a:prstGeom prst="rect">
            <a:avLst/>
          </a:prstGeom>
          <a:noFill/>
        </p:spPr>
        <p:txBody>
          <a:bodyPr wrap="square" rtlCol="0">
            <a:spAutoFit/>
          </a:bodyPr>
          <a:lstStyle/>
          <a:p>
            <a:r>
              <a:rPr lang="bg-BG" sz="1200" dirty="0"/>
              <a:t>Бизнес</a:t>
            </a:r>
          </a:p>
        </p:txBody>
      </p:sp>
      <p:sp>
        <p:nvSpPr>
          <p:cNvPr id="5" name="Текстово поле 4">
            <a:extLst>
              <a:ext uri="{FF2B5EF4-FFF2-40B4-BE49-F238E27FC236}">
                <a16:creationId xmlns:a16="http://schemas.microsoft.com/office/drawing/2014/main" id="{77A692D0-ECB7-9B73-4FE8-0FEA040DF8BC}"/>
              </a:ext>
            </a:extLst>
          </p:cNvPr>
          <p:cNvSpPr txBox="1"/>
          <p:nvPr/>
        </p:nvSpPr>
        <p:spPr>
          <a:xfrm>
            <a:off x="4874896" y="1594874"/>
            <a:ext cx="1669447" cy="276999"/>
          </a:xfrm>
          <a:prstGeom prst="rect">
            <a:avLst/>
          </a:prstGeom>
          <a:noFill/>
        </p:spPr>
        <p:txBody>
          <a:bodyPr wrap="square" rtlCol="0">
            <a:spAutoFit/>
          </a:bodyPr>
          <a:lstStyle/>
          <a:p>
            <a:r>
              <a:rPr lang="bg-BG" sz="1200" dirty="0"/>
              <a:t>Широка общественост</a:t>
            </a:r>
          </a:p>
        </p:txBody>
      </p:sp>
    </p:spTree>
    <p:extLst>
      <p:ext uri="{BB962C8B-B14F-4D97-AF65-F5344CB8AC3E}">
        <p14:creationId xmlns:p14="http://schemas.microsoft.com/office/powerpoint/2010/main" val="952539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a:bodyPr>
          <a:lstStyle/>
          <a:p>
            <a:r>
              <a:rPr lang="bg-BG" sz="2400" dirty="0">
                <a:solidFill>
                  <a:schemeClr val="accent2"/>
                </a:solidFill>
              </a:rPr>
              <a:t>ОЧАКВАНИ НЕГАТИВНИ ЕФЕКТИ ОТ ВЪВЕЖДАНЕ НА ЕВРОТО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2</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949759003"/>
              </p:ext>
            </p:extLst>
          </p:nvPr>
        </p:nvGraphicFramePr>
        <p:xfrm>
          <a:off x="2031999" y="1165418"/>
          <a:ext cx="8695703" cy="4972915"/>
        </p:xfrm>
        <a:graphic>
          <a:graphicData uri="http://schemas.openxmlformats.org/drawingml/2006/chart">
            <c:chart xmlns:c="http://schemas.openxmlformats.org/drawingml/2006/chart" xmlns:r="http://schemas.openxmlformats.org/officeDocument/2006/relationships" r:id="rId81"/>
          </a:graphicData>
        </a:graphic>
      </p:graphicFrame>
      <p:sp>
        <p:nvSpPr>
          <p:cNvPr id="109" name="Текстово поле 108">
            <a:extLst>
              <a:ext uri="{FF2B5EF4-FFF2-40B4-BE49-F238E27FC236}">
                <a16:creationId xmlns:a16="http://schemas.microsoft.com/office/drawing/2014/main" id="{67240844-4704-B09A-7074-BD34F9CBCBFF}"/>
              </a:ext>
            </a:extLst>
          </p:cNvPr>
          <p:cNvSpPr txBox="1"/>
          <p:nvPr/>
        </p:nvSpPr>
        <p:spPr>
          <a:xfrm>
            <a:off x="8025772" y="1615861"/>
            <a:ext cx="966452" cy="276999"/>
          </a:xfrm>
          <a:prstGeom prst="rect">
            <a:avLst/>
          </a:prstGeom>
          <a:noFill/>
        </p:spPr>
        <p:txBody>
          <a:bodyPr wrap="square" rtlCol="0">
            <a:spAutoFit/>
          </a:bodyPr>
          <a:lstStyle/>
          <a:p>
            <a:r>
              <a:rPr lang="bg-BG" sz="1200" dirty="0"/>
              <a:t>Бизнес</a:t>
            </a:r>
          </a:p>
        </p:txBody>
      </p:sp>
      <p:sp>
        <p:nvSpPr>
          <p:cNvPr id="5" name="Текстово поле 4">
            <a:extLst>
              <a:ext uri="{FF2B5EF4-FFF2-40B4-BE49-F238E27FC236}">
                <a16:creationId xmlns:a16="http://schemas.microsoft.com/office/drawing/2014/main" id="{E8032AFC-9361-1444-1DF4-419B349857CD}"/>
              </a:ext>
            </a:extLst>
          </p:cNvPr>
          <p:cNvSpPr txBox="1"/>
          <p:nvPr/>
        </p:nvSpPr>
        <p:spPr>
          <a:xfrm>
            <a:off x="5075177" y="1614652"/>
            <a:ext cx="1669447" cy="276999"/>
          </a:xfrm>
          <a:prstGeom prst="rect">
            <a:avLst/>
          </a:prstGeom>
          <a:noFill/>
        </p:spPr>
        <p:txBody>
          <a:bodyPr wrap="square" rtlCol="0">
            <a:spAutoFit/>
          </a:bodyPr>
          <a:lstStyle/>
          <a:p>
            <a:r>
              <a:rPr lang="bg-BG" sz="1200" dirty="0"/>
              <a:t>Широка общественост</a:t>
            </a:r>
          </a:p>
        </p:txBody>
      </p:sp>
    </p:spTree>
    <p:extLst>
      <p:ext uri="{BB962C8B-B14F-4D97-AF65-F5344CB8AC3E}">
        <p14:creationId xmlns:p14="http://schemas.microsoft.com/office/powerpoint/2010/main" val="266546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a:xfrm>
            <a:off x="2311408" y="159297"/>
            <a:ext cx="9105807" cy="688196"/>
          </a:xfrm>
        </p:spPr>
        <p:txBody>
          <a:bodyPr>
            <a:noAutofit/>
          </a:bodyPr>
          <a:lstStyle/>
          <a:p>
            <a:r>
              <a:rPr lang="bg-BG" sz="2400" dirty="0">
                <a:solidFill>
                  <a:schemeClr val="accent2"/>
                </a:solidFill>
              </a:rPr>
              <a:t>ВЪЗМОЖНОСТИ ЗА ПОДКРЕПА, АКО НЕГАТИВИТЕ БЪДАТ ОВЛАДЕНИ/ПРЕДОТВРАТЕНИ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3</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297943316"/>
              </p:ext>
            </p:extLst>
          </p:nvPr>
        </p:nvGraphicFramePr>
        <p:xfrm>
          <a:off x="2031999" y="1165418"/>
          <a:ext cx="8695703" cy="4972915"/>
        </p:xfrm>
        <a:graphic>
          <a:graphicData uri="http://schemas.openxmlformats.org/drawingml/2006/chart">
            <c:chart xmlns:c="http://schemas.openxmlformats.org/drawingml/2006/chart" xmlns:r="http://schemas.openxmlformats.org/officeDocument/2006/relationships" r:id="rId81"/>
          </a:graphicData>
        </a:graphic>
      </p:graphicFrame>
      <p:sp>
        <p:nvSpPr>
          <p:cNvPr id="109" name="Текстово поле 108">
            <a:extLst>
              <a:ext uri="{FF2B5EF4-FFF2-40B4-BE49-F238E27FC236}">
                <a16:creationId xmlns:a16="http://schemas.microsoft.com/office/drawing/2014/main" id="{67240844-4704-B09A-7074-BD34F9CBCBFF}"/>
              </a:ext>
            </a:extLst>
          </p:cNvPr>
          <p:cNvSpPr txBox="1"/>
          <p:nvPr/>
        </p:nvSpPr>
        <p:spPr>
          <a:xfrm>
            <a:off x="8029846" y="1716386"/>
            <a:ext cx="966452" cy="276999"/>
          </a:xfrm>
          <a:prstGeom prst="rect">
            <a:avLst/>
          </a:prstGeom>
          <a:noFill/>
        </p:spPr>
        <p:txBody>
          <a:bodyPr wrap="square" rtlCol="0">
            <a:spAutoFit/>
          </a:bodyPr>
          <a:lstStyle/>
          <a:p>
            <a:r>
              <a:rPr lang="bg-BG" sz="1200" dirty="0"/>
              <a:t>Бизнес</a:t>
            </a:r>
          </a:p>
        </p:txBody>
      </p:sp>
      <p:sp>
        <p:nvSpPr>
          <p:cNvPr id="5" name="Текстово поле 4">
            <a:extLst>
              <a:ext uri="{FF2B5EF4-FFF2-40B4-BE49-F238E27FC236}">
                <a16:creationId xmlns:a16="http://schemas.microsoft.com/office/drawing/2014/main" id="{744D33E3-5522-CB53-0376-71D3A93B6333}"/>
              </a:ext>
            </a:extLst>
          </p:cNvPr>
          <p:cNvSpPr txBox="1"/>
          <p:nvPr/>
        </p:nvSpPr>
        <p:spPr>
          <a:xfrm>
            <a:off x="4819785" y="1696951"/>
            <a:ext cx="1669447" cy="276999"/>
          </a:xfrm>
          <a:prstGeom prst="rect">
            <a:avLst/>
          </a:prstGeom>
          <a:noFill/>
        </p:spPr>
        <p:txBody>
          <a:bodyPr wrap="square" rtlCol="0">
            <a:spAutoFit/>
          </a:bodyPr>
          <a:lstStyle/>
          <a:p>
            <a:r>
              <a:rPr lang="bg-BG" sz="1200" dirty="0"/>
              <a:t>Широка общественост</a:t>
            </a:r>
          </a:p>
        </p:txBody>
      </p:sp>
    </p:spTree>
    <p:extLst>
      <p:ext uri="{BB962C8B-B14F-4D97-AF65-F5344CB8AC3E}">
        <p14:creationId xmlns:p14="http://schemas.microsoft.com/office/powerpoint/2010/main" val="466214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a:xfrm>
            <a:off x="2062480" y="245022"/>
            <a:ext cx="9804400" cy="688196"/>
          </a:xfrm>
        </p:spPr>
        <p:txBody>
          <a:bodyPr>
            <a:normAutofit fontScale="90000"/>
          </a:bodyPr>
          <a:lstStyle/>
          <a:p>
            <a:r>
              <a:rPr lang="bg-BG" sz="2400" dirty="0">
                <a:solidFill>
                  <a:schemeClr val="accent2"/>
                </a:solidFill>
              </a:rPr>
              <a:t>ИЗПОЛЗВАНЕ НА ЕВРОТО - ПЪТУВАНИЯ В СТРАНИ ОТ ЕВРОПЕЙСКИЯ СЪЮЗ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4</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3873364507"/>
              </p:ext>
            </p:extLst>
          </p:nvPr>
        </p:nvGraphicFramePr>
        <p:xfrm>
          <a:off x="2649474" y="942288"/>
          <a:ext cx="8695703" cy="4972915"/>
        </p:xfrm>
        <a:graphic>
          <a:graphicData uri="http://schemas.openxmlformats.org/drawingml/2006/chart">
            <c:chart xmlns:c="http://schemas.openxmlformats.org/drawingml/2006/chart" xmlns:r="http://schemas.openxmlformats.org/officeDocument/2006/relationships" r:id="rId81"/>
          </a:graphicData>
        </a:graphic>
      </p:graphicFrame>
      <p:sp>
        <p:nvSpPr>
          <p:cNvPr id="108" name="Текстово поле 107">
            <a:extLst>
              <a:ext uri="{FF2B5EF4-FFF2-40B4-BE49-F238E27FC236}">
                <a16:creationId xmlns:a16="http://schemas.microsoft.com/office/drawing/2014/main" id="{90365589-292C-FF8B-0F12-6973B426027F}"/>
              </a:ext>
            </a:extLst>
          </p:cNvPr>
          <p:cNvSpPr txBox="1"/>
          <p:nvPr/>
        </p:nvSpPr>
        <p:spPr>
          <a:xfrm>
            <a:off x="4454172" y="1671263"/>
            <a:ext cx="1669447" cy="276999"/>
          </a:xfrm>
          <a:prstGeom prst="rect">
            <a:avLst/>
          </a:prstGeom>
          <a:noFill/>
        </p:spPr>
        <p:txBody>
          <a:bodyPr wrap="square" rtlCol="0">
            <a:spAutoFit/>
          </a:bodyPr>
          <a:lstStyle/>
          <a:p>
            <a:r>
              <a:rPr lang="bg-BG" sz="1200" dirty="0"/>
              <a:t>Широка общественост</a:t>
            </a:r>
          </a:p>
        </p:txBody>
      </p:sp>
      <p:sp>
        <p:nvSpPr>
          <p:cNvPr id="109" name="Текстово поле 108">
            <a:extLst>
              <a:ext uri="{FF2B5EF4-FFF2-40B4-BE49-F238E27FC236}">
                <a16:creationId xmlns:a16="http://schemas.microsoft.com/office/drawing/2014/main" id="{67240844-4704-B09A-7074-BD34F9CBCBFF}"/>
              </a:ext>
            </a:extLst>
          </p:cNvPr>
          <p:cNvSpPr txBox="1"/>
          <p:nvPr/>
        </p:nvSpPr>
        <p:spPr>
          <a:xfrm>
            <a:off x="7756980" y="1667230"/>
            <a:ext cx="966452" cy="276999"/>
          </a:xfrm>
          <a:prstGeom prst="rect">
            <a:avLst/>
          </a:prstGeom>
          <a:noFill/>
        </p:spPr>
        <p:txBody>
          <a:bodyPr wrap="square" rtlCol="0">
            <a:spAutoFit/>
          </a:bodyPr>
          <a:lstStyle/>
          <a:p>
            <a:r>
              <a:rPr lang="bg-BG" sz="1200" dirty="0"/>
              <a:t>Бизнес</a:t>
            </a:r>
          </a:p>
        </p:txBody>
      </p:sp>
    </p:spTree>
    <p:extLst>
      <p:ext uri="{BB962C8B-B14F-4D97-AF65-F5344CB8AC3E}">
        <p14:creationId xmlns:p14="http://schemas.microsoft.com/office/powerpoint/2010/main" val="3104772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a:bodyPr>
          <a:lstStyle/>
          <a:p>
            <a:r>
              <a:rPr lang="bg-BG" sz="2400" dirty="0">
                <a:solidFill>
                  <a:schemeClr val="accent2"/>
                </a:solidFill>
              </a:rPr>
              <a:t>ИЗПОЛЗВАНЕ НА ЕВРОТО ПРЕЗ ПОСЛЕДНАТА ГОДИНА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5</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442185844"/>
              </p:ext>
            </p:extLst>
          </p:nvPr>
        </p:nvGraphicFramePr>
        <p:xfrm>
          <a:off x="2343818" y="732500"/>
          <a:ext cx="8401050" cy="4445267"/>
        </p:xfrm>
        <a:graphic>
          <a:graphicData uri="http://schemas.openxmlformats.org/drawingml/2006/chart">
            <c:chart xmlns:c="http://schemas.openxmlformats.org/drawingml/2006/chart" xmlns:r="http://schemas.openxmlformats.org/officeDocument/2006/relationships" r:id="rId81"/>
          </a:graphicData>
        </a:graphic>
      </p:graphicFrame>
      <p:sp>
        <p:nvSpPr>
          <p:cNvPr id="109" name="Текстово поле 108">
            <a:extLst>
              <a:ext uri="{FF2B5EF4-FFF2-40B4-BE49-F238E27FC236}">
                <a16:creationId xmlns:a16="http://schemas.microsoft.com/office/drawing/2014/main" id="{67240844-4704-B09A-7074-BD34F9CBCBFF}"/>
              </a:ext>
            </a:extLst>
          </p:cNvPr>
          <p:cNvSpPr txBox="1"/>
          <p:nvPr/>
        </p:nvSpPr>
        <p:spPr>
          <a:xfrm>
            <a:off x="8080803" y="1199071"/>
            <a:ext cx="966452" cy="276999"/>
          </a:xfrm>
          <a:prstGeom prst="rect">
            <a:avLst/>
          </a:prstGeom>
          <a:noFill/>
        </p:spPr>
        <p:txBody>
          <a:bodyPr wrap="square" rtlCol="0">
            <a:spAutoFit/>
          </a:bodyPr>
          <a:lstStyle/>
          <a:p>
            <a:r>
              <a:rPr lang="bg-BG" sz="1200" dirty="0"/>
              <a:t>Бизнес</a:t>
            </a:r>
          </a:p>
        </p:txBody>
      </p:sp>
      <p:sp>
        <p:nvSpPr>
          <p:cNvPr id="5" name="Текстово поле 4">
            <a:extLst>
              <a:ext uri="{FF2B5EF4-FFF2-40B4-BE49-F238E27FC236}">
                <a16:creationId xmlns:a16="http://schemas.microsoft.com/office/drawing/2014/main" id="{9A6CD43A-ECE3-E6C4-47EE-03F92611CDEA}"/>
              </a:ext>
            </a:extLst>
          </p:cNvPr>
          <p:cNvSpPr txBox="1"/>
          <p:nvPr/>
        </p:nvSpPr>
        <p:spPr>
          <a:xfrm>
            <a:off x="4723206" y="1187799"/>
            <a:ext cx="1669447" cy="276999"/>
          </a:xfrm>
          <a:prstGeom prst="rect">
            <a:avLst/>
          </a:prstGeom>
          <a:noFill/>
        </p:spPr>
        <p:txBody>
          <a:bodyPr wrap="square" rtlCol="0">
            <a:spAutoFit/>
          </a:bodyPr>
          <a:lstStyle/>
          <a:p>
            <a:r>
              <a:rPr lang="bg-BG" sz="1200" dirty="0"/>
              <a:t>Широка общественост</a:t>
            </a:r>
          </a:p>
        </p:txBody>
      </p:sp>
      <p:sp>
        <p:nvSpPr>
          <p:cNvPr id="7" name="Rectangle: Rounded Corners 6">
            <a:extLst>
              <a:ext uri="{FF2B5EF4-FFF2-40B4-BE49-F238E27FC236}">
                <a16:creationId xmlns:a16="http://schemas.microsoft.com/office/drawing/2014/main" id="{04048258-B170-FBC8-AD35-5FBD852AD8E2}"/>
              </a:ext>
            </a:extLst>
          </p:cNvPr>
          <p:cNvSpPr/>
          <p:nvPr/>
        </p:nvSpPr>
        <p:spPr>
          <a:xfrm>
            <a:off x="8087903" y="5028080"/>
            <a:ext cx="3757092" cy="1469167"/>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r>
              <a:rPr lang="bg-BG" sz="1400" b="1" u="sng" dirty="0"/>
              <a:t>Използване на еврото</a:t>
            </a:r>
            <a:r>
              <a:rPr lang="bg-BG" dirty="0">
                <a:solidFill>
                  <a:schemeClr val="tx1"/>
                </a:solidFill>
              </a:rPr>
              <a:t>    </a:t>
            </a:r>
            <a:r>
              <a:rPr lang="bg-BG" sz="1100" b="1" u="sng" dirty="0">
                <a:solidFill>
                  <a:schemeClr val="tx1"/>
                </a:solidFill>
              </a:rPr>
              <a:t>ДА      НЕ</a:t>
            </a:r>
            <a:endParaRPr lang="bg-BG" b="1" u="sng" dirty="0">
              <a:solidFill>
                <a:schemeClr val="tx1"/>
              </a:solidFill>
            </a:endParaRPr>
          </a:p>
          <a:p>
            <a:r>
              <a:rPr lang="bg-BG" sz="1200" dirty="0">
                <a:solidFill>
                  <a:schemeClr val="tx1"/>
                </a:solidFill>
              </a:rPr>
              <a:t>Широка общественост  	</a:t>
            </a:r>
            <a:r>
              <a:rPr lang="bg-BG" sz="1050" dirty="0">
                <a:solidFill>
                  <a:schemeClr val="tx1"/>
                </a:solidFill>
              </a:rPr>
              <a:t>44% : 56%</a:t>
            </a:r>
          </a:p>
          <a:p>
            <a:r>
              <a:rPr lang="bg-BG" sz="1050" dirty="0">
                <a:solidFill>
                  <a:schemeClr val="tx1"/>
                </a:solidFill>
              </a:rPr>
              <a:t>Бизнес 	             	81% : 19%</a:t>
            </a:r>
          </a:p>
          <a:p>
            <a:endParaRPr lang="bg-BG" sz="1050" dirty="0">
              <a:solidFill>
                <a:schemeClr val="tx1"/>
              </a:solidFill>
            </a:endParaRPr>
          </a:p>
          <a:p>
            <a:r>
              <a:rPr lang="bg-BG" sz="1050" dirty="0">
                <a:solidFill>
                  <a:schemeClr val="tx1"/>
                </a:solidFill>
              </a:rPr>
              <a:t>Сборът от посочените начини на използване на еврото надхвърля 100%, тъй като анкетираните са посочвали повече от един отговор.</a:t>
            </a:r>
          </a:p>
        </p:txBody>
      </p:sp>
      <p:sp>
        <p:nvSpPr>
          <p:cNvPr id="10" name="Right Brace 9">
            <a:extLst>
              <a:ext uri="{FF2B5EF4-FFF2-40B4-BE49-F238E27FC236}">
                <a16:creationId xmlns:a16="http://schemas.microsoft.com/office/drawing/2014/main" id="{D8D6F5AE-93CE-F976-F0E4-F77A5EAF5AEB}"/>
              </a:ext>
            </a:extLst>
          </p:cNvPr>
          <p:cNvSpPr/>
          <p:nvPr/>
        </p:nvSpPr>
        <p:spPr>
          <a:xfrm>
            <a:off x="6118685" y="1770977"/>
            <a:ext cx="290337" cy="2192968"/>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bg-BG"/>
          </a:p>
        </p:txBody>
      </p:sp>
      <p:sp>
        <p:nvSpPr>
          <p:cNvPr id="6" name="Текстово поле 5">
            <a:extLst>
              <a:ext uri="{FF2B5EF4-FFF2-40B4-BE49-F238E27FC236}">
                <a16:creationId xmlns:a16="http://schemas.microsoft.com/office/drawing/2014/main" id="{BE5EBCC3-0CAB-3109-76EE-5E9D7256EC41}"/>
              </a:ext>
            </a:extLst>
          </p:cNvPr>
          <p:cNvSpPr txBox="1"/>
          <p:nvPr/>
        </p:nvSpPr>
        <p:spPr>
          <a:xfrm>
            <a:off x="6355405" y="2674988"/>
            <a:ext cx="418704" cy="369332"/>
          </a:xfrm>
          <a:prstGeom prst="rect">
            <a:avLst/>
          </a:prstGeom>
          <a:noFill/>
        </p:spPr>
        <p:txBody>
          <a:bodyPr wrap="none" rtlCol="0">
            <a:spAutoFit/>
          </a:bodyPr>
          <a:lstStyle/>
          <a:p>
            <a:r>
              <a:rPr lang="bg-BG" dirty="0"/>
              <a:t>Да</a:t>
            </a:r>
          </a:p>
        </p:txBody>
      </p:sp>
      <p:sp>
        <p:nvSpPr>
          <p:cNvPr id="8" name="Текстово поле 7">
            <a:extLst>
              <a:ext uri="{FF2B5EF4-FFF2-40B4-BE49-F238E27FC236}">
                <a16:creationId xmlns:a16="http://schemas.microsoft.com/office/drawing/2014/main" id="{F22DC606-296C-B5BB-DE45-96D7322AE3A7}"/>
              </a:ext>
            </a:extLst>
          </p:cNvPr>
          <p:cNvSpPr txBox="1"/>
          <p:nvPr/>
        </p:nvSpPr>
        <p:spPr>
          <a:xfrm>
            <a:off x="10241970" y="2701804"/>
            <a:ext cx="418704" cy="369332"/>
          </a:xfrm>
          <a:prstGeom prst="rect">
            <a:avLst/>
          </a:prstGeom>
          <a:noFill/>
        </p:spPr>
        <p:txBody>
          <a:bodyPr wrap="none" rtlCol="0">
            <a:spAutoFit/>
          </a:bodyPr>
          <a:lstStyle/>
          <a:p>
            <a:r>
              <a:rPr lang="bg-BG" dirty="0"/>
              <a:t>Да</a:t>
            </a:r>
          </a:p>
        </p:txBody>
      </p:sp>
    </p:spTree>
    <p:extLst>
      <p:ext uri="{BB962C8B-B14F-4D97-AF65-F5344CB8AC3E}">
        <p14:creationId xmlns:p14="http://schemas.microsoft.com/office/powerpoint/2010/main" val="2941125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a:bodyPr>
          <a:lstStyle/>
          <a:p>
            <a:r>
              <a:rPr lang="bg-BG" sz="2400" dirty="0">
                <a:solidFill>
                  <a:schemeClr val="accent2"/>
                </a:solidFill>
              </a:rPr>
              <a:t>ОЧАКВАНИЯ ЗА АДАПТИРАНЕ КЪМ ИЗПОЛЗВАНЕ НА ЕВРОТО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6</a:t>
            </a:fld>
            <a:endParaRPr lang="bg-BG" dirty="0"/>
          </a:p>
        </p:txBody>
      </p:sp>
      <p:graphicFrame>
        <p:nvGraphicFramePr>
          <p:cNvPr id="7" name="Диаграма 6">
            <a:extLst>
              <a:ext uri="{FF2B5EF4-FFF2-40B4-BE49-F238E27FC236}">
                <a16:creationId xmlns:a16="http://schemas.microsoft.com/office/drawing/2014/main" id="{021938A5-CA0E-477A-11A3-AD4DDB44DB1F}"/>
              </a:ext>
            </a:extLst>
          </p:cNvPr>
          <p:cNvGraphicFramePr/>
          <p:nvPr>
            <p:extLst>
              <p:ext uri="{D42A27DB-BD31-4B8C-83A1-F6EECF244321}">
                <p14:modId xmlns:p14="http://schemas.microsoft.com/office/powerpoint/2010/main" val="3633979162"/>
              </p:ext>
            </p:extLst>
          </p:nvPr>
        </p:nvGraphicFramePr>
        <p:xfrm>
          <a:off x="2032000" y="719666"/>
          <a:ext cx="8128000" cy="5418667"/>
        </p:xfrm>
        <a:graphic>
          <a:graphicData uri="http://schemas.openxmlformats.org/drawingml/2006/chart">
            <c:chart xmlns:c="http://schemas.openxmlformats.org/drawingml/2006/chart" xmlns:r="http://schemas.openxmlformats.org/officeDocument/2006/relationships" r:id="rId81"/>
          </a:graphicData>
        </a:graphic>
      </p:graphicFrame>
      <p:graphicFrame>
        <p:nvGraphicFramePr>
          <p:cNvPr id="8" name="Таблица 8">
            <a:extLst>
              <a:ext uri="{FF2B5EF4-FFF2-40B4-BE49-F238E27FC236}">
                <a16:creationId xmlns:a16="http://schemas.microsoft.com/office/drawing/2014/main" id="{7C819C1E-9A95-A1C1-EF2F-B04959F719EE}"/>
              </a:ext>
            </a:extLst>
          </p:cNvPr>
          <p:cNvGraphicFramePr>
            <a:graphicFrameLocks noGrp="1"/>
          </p:cNvGraphicFramePr>
          <p:nvPr>
            <p:extLst>
              <p:ext uri="{D42A27DB-BD31-4B8C-83A1-F6EECF244321}">
                <p14:modId xmlns:p14="http://schemas.microsoft.com/office/powerpoint/2010/main" val="1170195551"/>
              </p:ext>
            </p:extLst>
          </p:nvPr>
        </p:nvGraphicFramePr>
        <p:xfrm>
          <a:off x="10518890" y="1347492"/>
          <a:ext cx="1163687" cy="4217394"/>
        </p:xfrm>
        <a:graphic>
          <a:graphicData uri="http://schemas.openxmlformats.org/drawingml/2006/table">
            <a:tbl>
              <a:tblPr firstRow="1" bandRow="1">
                <a:tableStyleId>{5C22544A-7EE6-4342-B048-85BDC9FD1C3A}</a:tableStyleId>
              </a:tblPr>
              <a:tblGrid>
                <a:gridCol w="1163687">
                  <a:extLst>
                    <a:ext uri="{9D8B030D-6E8A-4147-A177-3AD203B41FA5}">
                      <a16:colId xmlns:a16="http://schemas.microsoft.com/office/drawing/2014/main" val="3260163084"/>
                    </a:ext>
                  </a:extLst>
                </a:gridCol>
              </a:tblGrid>
              <a:tr h="505120">
                <a:tc>
                  <a:txBody>
                    <a:bodyPr/>
                    <a:lstStyle/>
                    <a:p>
                      <a:pPr algn="ctr"/>
                      <a:r>
                        <a:rPr lang="bg-BG" sz="1200" dirty="0">
                          <a:solidFill>
                            <a:schemeClr val="tx1"/>
                          </a:solidFill>
                        </a:rPr>
                        <a:t>Много лесно + По-скоро лесно</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3651926226"/>
                  </a:ext>
                </a:extLst>
              </a:tr>
              <a:tr h="1815543">
                <a:tc>
                  <a:txBody>
                    <a:bodyPr/>
                    <a:lstStyle/>
                    <a:p>
                      <a:endParaRPr lang="bg-BG" dirty="0"/>
                    </a:p>
                    <a:p>
                      <a:pPr algn="ctr"/>
                      <a:endParaRPr lang="en-US" sz="1200" dirty="0"/>
                    </a:p>
                    <a:p>
                      <a:pPr algn="ctr"/>
                      <a:r>
                        <a:rPr lang="bg-BG" sz="1200" dirty="0"/>
                        <a:t>59.8</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noFill/>
                  </a:tcPr>
                </a:tc>
                <a:extLst>
                  <a:ext uri="{0D108BD9-81ED-4DB2-BD59-A6C34878D82A}">
                    <a16:rowId xmlns:a16="http://schemas.microsoft.com/office/drawing/2014/main" val="3071137453"/>
                  </a:ext>
                </a:extLst>
              </a:tr>
              <a:tr h="1896731">
                <a:tc>
                  <a:txBody>
                    <a:bodyPr/>
                    <a:lstStyle/>
                    <a:p>
                      <a:endParaRPr lang="bg-BG" dirty="0"/>
                    </a:p>
                    <a:p>
                      <a:endParaRPr lang="bg-BG" dirty="0"/>
                    </a:p>
                    <a:p>
                      <a:pPr algn="ctr"/>
                      <a:endParaRPr lang="en-US" sz="1200" dirty="0"/>
                    </a:p>
                    <a:p>
                      <a:pPr algn="ctr"/>
                      <a:r>
                        <a:rPr lang="bg-BG" sz="1200" dirty="0"/>
                        <a:t>92.0</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noFill/>
                  </a:tcPr>
                </a:tc>
                <a:extLst>
                  <a:ext uri="{0D108BD9-81ED-4DB2-BD59-A6C34878D82A}">
                    <a16:rowId xmlns:a16="http://schemas.microsoft.com/office/drawing/2014/main" val="3962416554"/>
                  </a:ext>
                </a:extLst>
              </a:tr>
            </a:tbl>
          </a:graphicData>
        </a:graphic>
      </p:graphicFrame>
    </p:spTree>
    <p:extLst>
      <p:ext uri="{BB962C8B-B14F-4D97-AF65-F5344CB8AC3E}">
        <p14:creationId xmlns:p14="http://schemas.microsoft.com/office/powerpoint/2010/main" val="2194178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rmAutofit/>
          </a:bodyPr>
          <a:lstStyle/>
          <a:p>
            <a:r>
              <a:rPr lang="bg-BG" sz="2400" dirty="0">
                <a:solidFill>
                  <a:schemeClr val="accent2"/>
                </a:solidFill>
              </a:rPr>
              <a:t>НИВА НА ИНФОРМИРАНОСТ ПО ВЪПРОСИ ЗА ЕВРОТО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7</a:t>
            </a:fld>
            <a:endParaRPr lang="bg-BG" dirty="0"/>
          </a:p>
        </p:txBody>
      </p:sp>
      <p:graphicFrame>
        <p:nvGraphicFramePr>
          <p:cNvPr id="7" name="Диаграма 6">
            <a:extLst>
              <a:ext uri="{FF2B5EF4-FFF2-40B4-BE49-F238E27FC236}">
                <a16:creationId xmlns:a16="http://schemas.microsoft.com/office/drawing/2014/main" id="{021938A5-CA0E-477A-11A3-AD4DDB44DB1F}"/>
              </a:ext>
            </a:extLst>
          </p:cNvPr>
          <p:cNvGraphicFramePr/>
          <p:nvPr/>
        </p:nvGraphicFramePr>
        <p:xfrm>
          <a:off x="2032000" y="933218"/>
          <a:ext cx="8128000" cy="5205115"/>
        </p:xfrm>
        <a:graphic>
          <a:graphicData uri="http://schemas.openxmlformats.org/drawingml/2006/chart">
            <c:chart xmlns:c="http://schemas.openxmlformats.org/drawingml/2006/chart" xmlns:r="http://schemas.openxmlformats.org/officeDocument/2006/relationships" r:id="rId81"/>
          </a:graphicData>
        </a:graphic>
      </p:graphicFrame>
      <p:graphicFrame>
        <p:nvGraphicFramePr>
          <p:cNvPr id="8" name="Таблица 8">
            <a:extLst>
              <a:ext uri="{FF2B5EF4-FFF2-40B4-BE49-F238E27FC236}">
                <a16:creationId xmlns:a16="http://schemas.microsoft.com/office/drawing/2014/main" id="{7C819C1E-9A95-A1C1-EF2F-B04959F719EE}"/>
              </a:ext>
            </a:extLst>
          </p:cNvPr>
          <p:cNvGraphicFramePr>
            <a:graphicFrameLocks noGrp="1"/>
          </p:cNvGraphicFramePr>
          <p:nvPr/>
        </p:nvGraphicFramePr>
        <p:xfrm>
          <a:off x="10373723" y="1339228"/>
          <a:ext cx="1306476" cy="3851982"/>
        </p:xfrm>
        <a:graphic>
          <a:graphicData uri="http://schemas.openxmlformats.org/drawingml/2006/table">
            <a:tbl>
              <a:tblPr firstRow="1" bandRow="1">
                <a:tableStyleId>{5C22544A-7EE6-4342-B048-85BDC9FD1C3A}</a:tableStyleId>
              </a:tblPr>
              <a:tblGrid>
                <a:gridCol w="1306476">
                  <a:extLst>
                    <a:ext uri="{9D8B030D-6E8A-4147-A177-3AD203B41FA5}">
                      <a16:colId xmlns:a16="http://schemas.microsoft.com/office/drawing/2014/main" val="3260163084"/>
                    </a:ext>
                  </a:extLst>
                </a:gridCol>
              </a:tblGrid>
              <a:tr h="571445">
                <a:tc>
                  <a:txBody>
                    <a:bodyPr/>
                    <a:lstStyle/>
                    <a:p>
                      <a:pPr algn="ctr"/>
                      <a:r>
                        <a:rPr lang="bg-BG" sz="1200" dirty="0">
                          <a:solidFill>
                            <a:schemeClr val="tx1"/>
                          </a:solidFill>
                        </a:rPr>
                        <a:t>Много добре + По-скоро добре</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3651926226"/>
                  </a:ext>
                </a:extLst>
              </a:tr>
              <a:tr h="1466050">
                <a:tc>
                  <a:txBody>
                    <a:bodyPr/>
                    <a:lstStyle/>
                    <a:p>
                      <a:endParaRPr lang="bg-BG" dirty="0"/>
                    </a:p>
                    <a:p>
                      <a:pPr algn="ctr"/>
                      <a:endParaRPr lang="en-US" sz="1200" dirty="0"/>
                    </a:p>
                    <a:p>
                      <a:pPr algn="ctr"/>
                      <a:endParaRPr lang="en-US" sz="1200" dirty="0"/>
                    </a:p>
                    <a:p>
                      <a:pPr algn="ctr"/>
                      <a:r>
                        <a:rPr lang="bg-BG" sz="1200" dirty="0"/>
                        <a:t>42.2</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noFill/>
                  </a:tcPr>
                </a:tc>
                <a:extLst>
                  <a:ext uri="{0D108BD9-81ED-4DB2-BD59-A6C34878D82A}">
                    <a16:rowId xmlns:a16="http://schemas.microsoft.com/office/drawing/2014/main" val="3071137453"/>
                  </a:ext>
                </a:extLst>
              </a:tr>
              <a:tr h="1814487">
                <a:tc>
                  <a:txBody>
                    <a:bodyPr/>
                    <a:lstStyle/>
                    <a:p>
                      <a:endParaRPr lang="bg-BG" dirty="0"/>
                    </a:p>
                    <a:p>
                      <a:endParaRPr lang="bg-BG" dirty="0"/>
                    </a:p>
                    <a:p>
                      <a:pPr algn="ctr"/>
                      <a:endParaRPr lang="en-US" sz="1200" dirty="0"/>
                    </a:p>
                    <a:p>
                      <a:pPr algn="ctr"/>
                      <a:endParaRPr lang="en-US" sz="1200" dirty="0"/>
                    </a:p>
                    <a:p>
                      <a:pPr algn="ctr"/>
                      <a:r>
                        <a:rPr lang="bg-BG" sz="1200" dirty="0"/>
                        <a:t>76.3</a:t>
                      </a:r>
                    </a:p>
                  </a:txBody>
                  <a:tcPr>
                    <a:lnL w="9525" cap="flat" cmpd="sng" algn="ctr">
                      <a:solidFill>
                        <a:schemeClr val="tx1"/>
                      </a:solidFill>
                      <a:prstDash val="dash"/>
                      <a:round/>
                      <a:headEnd type="none" w="med" len="med"/>
                      <a:tailEnd type="none" w="med" len="med"/>
                    </a:lnL>
                    <a:lnR w="9525" cap="flat" cmpd="sng" algn="ctr">
                      <a:solidFill>
                        <a:schemeClr val="tx1"/>
                      </a:solidFill>
                      <a:prstDash val="dash"/>
                      <a:round/>
                      <a:headEnd type="none" w="med" len="med"/>
                      <a:tailEnd type="none" w="med" len="med"/>
                    </a:ln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noFill/>
                  </a:tcPr>
                </a:tc>
                <a:extLst>
                  <a:ext uri="{0D108BD9-81ED-4DB2-BD59-A6C34878D82A}">
                    <a16:rowId xmlns:a16="http://schemas.microsoft.com/office/drawing/2014/main" val="3962416554"/>
                  </a:ext>
                </a:extLst>
              </a:tr>
            </a:tbl>
          </a:graphicData>
        </a:graphic>
      </p:graphicFrame>
    </p:spTree>
    <p:extLst>
      <p:ext uri="{BB962C8B-B14F-4D97-AF65-F5344CB8AC3E}">
        <p14:creationId xmlns:p14="http://schemas.microsoft.com/office/powerpoint/2010/main" val="38329089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Autofit/>
          </a:bodyPr>
          <a:lstStyle/>
          <a:p>
            <a:r>
              <a:rPr lang="bg-BG" sz="2400" dirty="0">
                <a:solidFill>
                  <a:schemeClr val="accent2"/>
                </a:solidFill>
              </a:rPr>
              <a:t>ИНФОРМАЦИОННИ ДЕФИЦИТИ ПО ВЪПРОСИ, СВЪРЗАНИ С ВЪВЕЖДАНЕТО НА ЕВРОТО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18</a:t>
            </a:fld>
            <a:endParaRPr lang="bg-BG" dirty="0"/>
          </a:p>
        </p:txBody>
      </p:sp>
      <p:graphicFrame>
        <p:nvGraphicFramePr>
          <p:cNvPr id="107" name="Диаграма 106">
            <a:extLst>
              <a:ext uri="{FF2B5EF4-FFF2-40B4-BE49-F238E27FC236}">
                <a16:creationId xmlns:a16="http://schemas.microsoft.com/office/drawing/2014/main" id="{0798898D-E939-ECCC-E31A-80CB2966EFBF}"/>
              </a:ext>
            </a:extLst>
          </p:cNvPr>
          <p:cNvGraphicFramePr/>
          <p:nvPr>
            <p:extLst>
              <p:ext uri="{D42A27DB-BD31-4B8C-83A1-F6EECF244321}">
                <p14:modId xmlns:p14="http://schemas.microsoft.com/office/powerpoint/2010/main" val="1583098731"/>
              </p:ext>
            </p:extLst>
          </p:nvPr>
        </p:nvGraphicFramePr>
        <p:xfrm>
          <a:off x="2031999" y="1165418"/>
          <a:ext cx="9105807" cy="4972915"/>
        </p:xfrm>
        <a:graphic>
          <a:graphicData uri="http://schemas.openxmlformats.org/drawingml/2006/chart">
            <c:chart xmlns:c="http://schemas.openxmlformats.org/drawingml/2006/chart" xmlns:r="http://schemas.openxmlformats.org/officeDocument/2006/relationships" r:id="rId81"/>
          </a:graphicData>
        </a:graphic>
      </p:graphicFrame>
      <p:sp>
        <p:nvSpPr>
          <p:cNvPr id="109" name="Текстово поле 108">
            <a:extLst>
              <a:ext uri="{FF2B5EF4-FFF2-40B4-BE49-F238E27FC236}">
                <a16:creationId xmlns:a16="http://schemas.microsoft.com/office/drawing/2014/main" id="{67240844-4704-B09A-7074-BD34F9CBCBFF}"/>
              </a:ext>
            </a:extLst>
          </p:cNvPr>
          <p:cNvSpPr txBox="1"/>
          <p:nvPr/>
        </p:nvSpPr>
        <p:spPr>
          <a:xfrm>
            <a:off x="8172121" y="1649858"/>
            <a:ext cx="966452" cy="276999"/>
          </a:xfrm>
          <a:prstGeom prst="rect">
            <a:avLst/>
          </a:prstGeom>
          <a:noFill/>
        </p:spPr>
        <p:txBody>
          <a:bodyPr wrap="square" rtlCol="0">
            <a:spAutoFit/>
          </a:bodyPr>
          <a:lstStyle/>
          <a:p>
            <a:r>
              <a:rPr lang="bg-BG" sz="1200" dirty="0"/>
              <a:t>Бизнес</a:t>
            </a:r>
          </a:p>
        </p:txBody>
      </p:sp>
      <p:sp>
        <p:nvSpPr>
          <p:cNvPr id="5" name="Текстово поле 4">
            <a:extLst>
              <a:ext uri="{FF2B5EF4-FFF2-40B4-BE49-F238E27FC236}">
                <a16:creationId xmlns:a16="http://schemas.microsoft.com/office/drawing/2014/main" id="{A8117E6F-2559-3D1F-E9EE-B30BF850F505}"/>
              </a:ext>
            </a:extLst>
          </p:cNvPr>
          <p:cNvSpPr txBox="1"/>
          <p:nvPr/>
        </p:nvSpPr>
        <p:spPr>
          <a:xfrm>
            <a:off x="4950170" y="1650590"/>
            <a:ext cx="1669447" cy="276999"/>
          </a:xfrm>
          <a:prstGeom prst="rect">
            <a:avLst/>
          </a:prstGeom>
          <a:noFill/>
        </p:spPr>
        <p:txBody>
          <a:bodyPr wrap="square" rtlCol="0">
            <a:spAutoFit/>
          </a:bodyPr>
          <a:lstStyle/>
          <a:p>
            <a:r>
              <a:rPr lang="bg-BG" sz="1200" dirty="0"/>
              <a:t>Широка общественост</a:t>
            </a:r>
          </a:p>
        </p:txBody>
      </p:sp>
    </p:spTree>
    <p:extLst>
      <p:ext uri="{BB962C8B-B14F-4D97-AF65-F5344CB8AC3E}">
        <p14:creationId xmlns:p14="http://schemas.microsoft.com/office/powerpoint/2010/main" val="27857495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838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1408" y="223757"/>
            <a:ext cx="9105807" cy="688196"/>
          </a:xfrm>
          <a:noFill/>
        </p:spPr>
        <p:txBody>
          <a:bodyPr>
            <a:normAutofit/>
          </a:bodyPr>
          <a:lstStyle/>
          <a:p>
            <a:r>
              <a:rPr lang="ru-RU" sz="2400" dirty="0">
                <a:solidFill>
                  <a:schemeClr val="accent2"/>
                </a:solidFill>
              </a:rPr>
              <a:t>ВИЗИТКА НА ПРОУЧВАНЕТО </a:t>
            </a:r>
            <a:endParaRPr lang="bg-BG" sz="2400" dirty="0">
              <a:solidFill>
                <a:schemeClr val="accent2"/>
              </a:solidFill>
            </a:endParaRPr>
          </a:p>
        </p:txBody>
      </p:sp>
      <p:sp>
        <p:nvSpPr>
          <p:cNvPr id="4" name="Slide Number Placeholder 3"/>
          <p:cNvSpPr>
            <a:spLocks noGrp="1"/>
          </p:cNvSpPr>
          <p:nvPr>
            <p:ph type="sldNum" sz="quarter" idx="4"/>
          </p:nvPr>
        </p:nvSpPr>
        <p:spPr/>
        <p:txBody>
          <a:bodyPr/>
          <a:lstStyle/>
          <a:p>
            <a:fld id="{DE3AA45F-980D-4F34-ABAD-1E35E3E654A8}" type="slidenum">
              <a:rPr lang="bg-BG" smtClean="0"/>
              <a:pPr/>
              <a:t>2</a:t>
            </a:fld>
            <a:endParaRPr lang="bg-BG" dirty="0"/>
          </a:p>
        </p:txBody>
      </p:sp>
      <p:sp>
        <p:nvSpPr>
          <p:cNvPr id="3" name="Текстово поле 10">
            <a:extLst>
              <a:ext uri="{FF2B5EF4-FFF2-40B4-BE49-F238E27FC236}">
                <a16:creationId xmlns:a16="http://schemas.microsoft.com/office/drawing/2014/main" id="{5D77FE3F-8F82-8C83-436A-36B6BCA5FE26}"/>
              </a:ext>
            </a:extLst>
          </p:cNvPr>
          <p:cNvSpPr txBox="1"/>
          <p:nvPr/>
        </p:nvSpPr>
        <p:spPr>
          <a:xfrm>
            <a:off x="2489200" y="1803460"/>
            <a:ext cx="8928015" cy="4217693"/>
          </a:xfrm>
          <a:prstGeom prst="rect">
            <a:avLst/>
          </a:prstGeom>
          <a:noFill/>
          <a:ln w="3175">
            <a:solidFill>
              <a:schemeClr val="accent6"/>
            </a:solidFill>
          </a:ln>
        </p:spPr>
        <p:txBody>
          <a:bodyPr wrap="square">
            <a:spAutoFit/>
          </a:bodyPr>
          <a:lstStyle/>
          <a:p>
            <a:pPr marL="285750" lvl="0" indent="-285750" algn="just">
              <a:lnSpc>
                <a:spcPct val="107000"/>
              </a:lnSpc>
              <a:spcAft>
                <a:spcPts val="800"/>
              </a:spcAft>
              <a:buFont typeface="Arial" panose="020B0604020202020204" pitchFamily="34" charset="0"/>
              <a:buChar char="•"/>
            </a:pPr>
            <a:r>
              <a:rPr lang="bg-BG" sz="1400" b="1" i="1" dirty="0">
                <a:solidFill>
                  <a:schemeClr val="accent2"/>
                </a:solidFill>
                <a:effectLst/>
                <a:ea typeface="Calibri" panose="020F0502020204030204" pitchFamily="34" charset="0"/>
                <a:cs typeface="Times New Roman" panose="02020603050405020304" pitchFamily="18" charset="0"/>
              </a:rPr>
              <a:t>Социологическото проучване „Обществените нагласи за въвеждането на еврото в България и ползите от членството на страната ни в еврозоната“ е реализирано от агенция Алфа Рисърч в периода 1 – 17 ноември 2022г., с възложител Министерство на финансите.</a:t>
            </a:r>
          </a:p>
          <a:p>
            <a:pPr marL="285750" lvl="0" indent="-285750" algn="just">
              <a:lnSpc>
                <a:spcPct val="107000"/>
              </a:lnSpc>
              <a:spcAft>
                <a:spcPts val="800"/>
              </a:spcAft>
              <a:buFont typeface="Arial" panose="020B0604020202020204" pitchFamily="34" charset="0"/>
              <a:buChar char="•"/>
            </a:pPr>
            <a:r>
              <a:rPr lang="bg-BG" sz="1400" b="1" i="1" dirty="0">
                <a:solidFill>
                  <a:schemeClr val="accent2"/>
                </a:solidFill>
                <a:ea typeface="Calibri" panose="020F0502020204030204" pitchFamily="34" charset="0"/>
                <a:cs typeface="Times New Roman" panose="02020603050405020304" pitchFamily="18" charset="0"/>
              </a:rPr>
              <a:t>Проучването има два модула:</a:t>
            </a:r>
          </a:p>
          <a:p>
            <a:pPr marL="742950" lvl="1" indent="-285750" algn="just">
              <a:lnSpc>
                <a:spcPct val="107000"/>
              </a:lnSpc>
              <a:spcAft>
                <a:spcPts val="800"/>
              </a:spcAft>
              <a:buFont typeface="Arial" panose="020B0604020202020204" pitchFamily="34" charset="0"/>
              <a:buChar char="•"/>
            </a:pPr>
            <a:r>
              <a:rPr lang="bg-BG" sz="1400" b="1" i="1" u="sng" dirty="0">
                <a:solidFill>
                  <a:schemeClr val="accent2"/>
                </a:solidFill>
                <a:ea typeface="Calibri" panose="020F0502020204030204" pitchFamily="34" charset="0"/>
                <a:cs typeface="Times New Roman" panose="02020603050405020304" pitchFamily="18" charset="0"/>
              </a:rPr>
              <a:t>Представително за пълнолетното население на страната изследване</a:t>
            </a:r>
            <a:r>
              <a:rPr lang="bg-BG" sz="1400" b="1" i="1" dirty="0">
                <a:solidFill>
                  <a:schemeClr val="accent2"/>
                </a:solidFill>
                <a:ea typeface="Calibri" panose="020F0502020204030204" pitchFamily="34" charset="0"/>
                <a:cs typeface="Times New Roman" panose="02020603050405020304" pitchFamily="18" charset="0"/>
              </a:rPr>
              <a:t>; реализирано е чрез  д</a:t>
            </a:r>
            <a:r>
              <a:rPr lang="bg-BG" sz="1400" b="1" i="1" dirty="0">
                <a:solidFill>
                  <a:schemeClr val="accent2"/>
                </a:solidFill>
                <a:effectLst/>
              </a:rPr>
              <a:t>вустепенна</a:t>
            </a:r>
            <a:r>
              <a:rPr lang="en-US" sz="1400" b="1" i="1" dirty="0">
                <a:solidFill>
                  <a:schemeClr val="accent2"/>
                </a:solidFill>
                <a:effectLst/>
              </a:rPr>
              <a:t> </a:t>
            </a:r>
            <a:r>
              <a:rPr lang="bg-BG" sz="1400" b="1" i="1" dirty="0">
                <a:solidFill>
                  <a:schemeClr val="accent2"/>
                </a:solidFill>
                <a:effectLst/>
              </a:rPr>
              <a:t>извадка, стратифицирана по регион и тип населено място, съгласно данните на НСИ от Преброяване 2021, с подбор на респондентите по квота въз основа на признаците пол, възраст, образование. Анкетирани по домовете им с таблети са 1200 души.</a:t>
            </a:r>
          </a:p>
          <a:p>
            <a:pPr marL="742950" lvl="1" indent="-285750" algn="just">
              <a:lnSpc>
                <a:spcPct val="107000"/>
              </a:lnSpc>
              <a:spcAft>
                <a:spcPts val="800"/>
              </a:spcAft>
              <a:buFont typeface="Arial" panose="020B0604020202020204" pitchFamily="34" charset="0"/>
              <a:buChar char="•"/>
            </a:pPr>
            <a:r>
              <a:rPr lang="bg-BG" sz="1400" b="1" u="sng" dirty="0">
                <a:solidFill>
                  <a:schemeClr val="accent2"/>
                </a:solidFill>
                <a:ea typeface="Calibri" panose="020F0502020204030204" pitchFamily="34" charset="0"/>
                <a:cs typeface="Times New Roman" panose="02020603050405020304" pitchFamily="18" charset="0"/>
              </a:rPr>
              <a:t>Представително за бизнеса в страната</a:t>
            </a:r>
            <a:r>
              <a:rPr lang="bg-BG" sz="1400" b="1" i="1" dirty="0">
                <a:solidFill>
                  <a:schemeClr val="accent2"/>
                </a:solidFill>
                <a:ea typeface="Calibri" panose="020F0502020204030204" pitchFamily="34" charset="0"/>
                <a:cs typeface="Times New Roman" panose="02020603050405020304" pitchFamily="18" charset="0"/>
              </a:rPr>
              <a:t>; реализирано е чрез с</a:t>
            </a:r>
            <a:r>
              <a:rPr lang="bg-BG" sz="1400" b="1" i="1" dirty="0">
                <a:solidFill>
                  <a:schemeClr val="accent2"/>
                </a:solidFill>
                <a:effectLst/>
              </a:rPr>
              <a:t>тратифицирана извадка по признаците регион, брой заети във фирмата и сектор на работа; проведено е сред взимащите решения за бизнеса в съответната компания чрез телефонно и пряко стандартизирано интервю с таблети.</a:t>
            </a:r>
            <a:endParaRPr lang="bg-BG" sz="1400" b="1" i="1" dirty="0">
              <a:solidFill>
                <a:schemeClr val="accent2"/>
              </a:solidFill>
              <a:effectLst/>
              <a:ea typeface="Calibri" panose="020F0502020204030204" pitchFamily="34" charset="0"/>
              <a:cs typeface="Times New Roman" panose="02020603050405020304" pitchFamily="18" charset="0"/>
            </a:endParaRPr>
          </a:p>
          <a:p>
            <a:pPr marL="742950" lvl="1" indent="-285750" algn="just">
              <a:lnSpc>
                <a:spcPct val="107000"/>
              </a:lnSpc>
              <a:spcAft>
                <a:spcPts val="800"/>
              </a:spcAft>
              <a:buFont typeface="Arial" panose="020B0604020202020204" pitchFamily="34" charset="0"/>
              <a:buChar char="•"/>
            </a:pPr>
            <a:endParaRPr lang="bg-BG" sz="1200" dirty="0">
              <a:effectLst/>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spcAft>
                <a:spcPts val="800"/>
              </a:spcAft>
            </a:pPr>
            <a:endParaRPr lang="bg-BG" sz="1400" dirty="0">
              <a:effectLst/>
              <a:ea typeface="Calibri" panose="020F0502020204030204" pitchFamily="34" charset="0"/>
              <a:cs typeface="Times New Roman" panose="02020603050405020304" pitchFamily="18" charset="0"/>
            </a:endParaRPr>
          </a:p>
          <a:p>
            <a:pPr algn="just">
              <a:lnSpc>
                <a:spcPct val="107000"/>
              </a:lnSpc>
              <a:spcAft>
                <a:spcPts val="800"/>
              </a:spcAft>
            </a:pPr>
            <a:endParaRPr lang="bg-BG" sz="1400" dirty="0">
              <a:effectLst/>
              <a:ea typeface="Calibri" panose="020F0502020204030204" pitchFamily="34" charset="0"/>
              <a:cs typeface="Times New Roman" panose="02020603050405020304" pitchFamily="18" charset="0"/>
            </a:endParaRPr>
          </a:p>
          <a:p>
            <a:pPr marL="180340" algn="just">
              <a:lnSpc>
                <a:spcPct val="107000"/>
              </a:lnSpc>
              <a:spcAft>
                <a:spcPts val="800"/>
              </a:spcAft>
            </a:pPr>
            <a:r>
              <a:rPr lang="bg-BG" sz="1400" dirty="0">
                <a:effectLst/>
                <a:ea typeface="Times New Roman" panose="02020603050405020304" pitchFamily="18" charset="0"/>
                <a:cs typeface="Times New Roman" panose="02020603050405020304" pitchFamily="18" charset="0"/>
              </a:rPr>
              <a:t> </a:t>
            </a:r>
            <a:endParaRPr lang="bg-BG" sz="1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53064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1408" y="223757"/>
            <a:ext cx="9105807" cy="688196"/>
          </a:xfrm>
          <a:noFill/>
        </p:spPr>
        <p:txBody>
          <a:bodyPr>
            <a:normAutofit/>
          </a:bodyPr>
          <a:lstStyle/>
          <a:p>
            <a:r>
              <a:rPr lang="bg-BG" sz="2400" dirty="0">
                <a:solidFill>
                  <a:schemeClr val="accent2"/>
                </a:solidFill>
              </a:rPr>
              <a:t>ХАРАКТЕРИСТИКИ НА ИЗВАДКИТЕ (%)</a:t>
            </a:r>
          </a:p>
        </p:txBody>
      </p:sp>
      <p:sp>
        <p:nvSpPr>
          <p:cNvPr id="4" name="Slide Number Placeholder 3"/>
          <p:cNvSpPr>
            <a:spLocks noGrp="1"/>
          </p:cNvSpPr>
          <p:nvPr>
            <p:ph type="sldNum" sz="quarter" idx="4"/>
          </p:nvPr>
        </p:nvSpPr>
        <p:spPr/>
        <p:txBody>
          <a:bodyPr/>
          <a:lstStyle/>
          <a:p>
            <a:fld id="{DE3AA45F-980D-4F34-ABAD-1E35E3E654A8}" type="slidenum">
              <a:rPr lang="bg-BG" smtClean="0"/>
              <a:pPr/>
              <a:t>3</a:t>
            </a:fld>
            <a:endParaRPr lang="bg-BG" dirty="0"/>
          </a:p>
        </p:txBody>
      </p:sp>
      <p:sp>
        <p:nvSpPr>
          <p:cNvPr id="87" name="Title 1"/>
          <p:cNvSpPr txBox="1">
            <a:spLocks/>
          </p:cNvSpPr>
          <p:nvPr/>
        </p:nvSpPr>
        <p:spPr>
          <a:xfrm>
            <a:off x="3085146" y="245023"/>
            <a:ext cx="7244179" cy="688196"/>
          </a:xfrm>
          <a:prstGeom prst="rect">
            <a:avLst/>
          </a:prstGeom>
        </p:spPr>
        <p:txBody>
          <a:bodyPr>
            <a:normAutofit/>
          </a:bodyPr>
          <a:lstStyle>
            <a:lvl1pPr algn="l" defTabSz="1007943" rtl="0" eaLnBrk="1" latinLnBrk="0" hangingPunct="1">
              <a:lnSpc>
                <a:spcPct val="90000"/>
              </a:lnSpc>
              <a:spcBef>
                <a:spcPct val="0"/>
              </a:spcBef>
              <a:buNone/>
              <a:defRPr sz="2400" b="1" kern="1200">
                <a:solidFill>
                  <a:schemeClr val="accent3"/>
                </a:solidFill>
                <a:latin typeface="+mj-lt"/>
                <a:ea typeface="+mj-ea"/>
                <a:cs typeface="+mj-cs"/>
              </a:defRPr>
            </a:lvl1pPr>
          </a:lstStyle>
          <a:p>
            <a:endParaRPr lang="bg-BG" sz="2177" dirty="0"/>
          </a:p>
        </p:txBody>
      </p:sp>
      <p:grpSp>
        <p:nvGrpSpPr>
          <p:cNvPr id="6" name="Group 87">
            <a:extLst>
              <a:ext uri="{FF2B5EF4-FFF2-40B4-BE49-F238E27FC236}">
                <a16:creationId xmlns:a16="http://schemas.microsoft.com/office/drawing/2014/main" id="{7346505D-CF53-EC7D-913C-A0D0B6A998C7}"/>
              </a:ext>
            </a:extLst>
          </p:cNvPr>
          <p:cNvGrpSpPr/>
          <p:nvPr/>
        </p:nvGrpSpPr>
        <p:grpSpPr>
          <a:xfrm>
            <a:off x="2124409" y="1292803"/>
            <a:ext cx="1897193" cy="1833606"/>
            <a:chOff x="1144114" y="1032874"/>
            <a:chExt cx="2131245" cy="2392666"/>
          </a:xfrm>
        </p:grpSpPr>
        <p:grpSp>
          <p:nvGrpSpPr>
            <p:cNvPr id="7" name="Group 88">
              <a:extLst>
                <a:ext uri="{FF2B5EF4-FFF2-40B4-BE49-F238E27FC236}">
                  <a16:creationId xmlns:a16="http://schemas.microsoft.com/office/drawing/2014/main" id="{B9231C7C-D685-E7B5-C005-AE5E5BE317DA}"/>
                </a:ext>
              </a:extLst>
            </p:cNvPr>
            <p:cNvGrpSpPr/>
            <p:nvPr/>
          </p:nvGrpSpPr>
          <p:grpSpPr>
            <a:xfrm>
              <a:off x="1144114" y="1478402"/>
              <a:ext cx="2131245" cy="1947138"/>
              <a:chOff x="5099950" y="1514538"/>
              <a:chExt cx="1761565" cy="1439961"/>
            </a:xfrm>
          </p:grpSpPr>
          <p:graphicFrame>
            <p:nvGraphicFramePr>
              <p:cNvPr id="13" name="Chart 94">
                <a:extLst>
                  <a:ext uri="{FF2B5EF4-FFF2-40B4-BE49-F238E27FC236}">
                    <a16:creationId xmlns:a16="http://schemas.microsoft.com/office/drawing/2014/main" id="{4C649F3C-FE37-3FBB-621A-FE89B95C2D0B}"/>
                  </a:ext>
                </a:extLst>
              </p:cNvPr>
              <p:cNvGraphicFramePr/>
              <p:nvPr/>
            </p:nvGraphicFramePr>
            <p:xfrm>
              <a:off x="5174481" y="1648574"/>
              <a:ext cx="1687034" cy="1223685"/>
            </p:xfrm>
            <a:graphic>
              <a:graphicData uri="http://schemas.openxmlformats.org/drawingml/2006/chart">
                <c:chart xmlns:c="http://schemas.openxmlformats.org/drawingml/2006/chart" xmlns:r="http://schemas.openxmlformats.org/officeDocument/2006/relationships" r:id="rId2"/>
              </a:graphicData>
            </a:graphic>
          </p:graphicFrame>
          <p:sp>
            <p:nvSpPr>
              <p:cNvPr id="14" name="Freeform 95">
                <a:extLst>
                  <a:ext uri="{FF2B5EF4-FFF2-40B4-BE49-F238E27FC236}">
                    <a16:creationId xmlns:a16="http://schemas.microsoft.com/office/drawing/2014/main" id="{40499DF5-A5EE-8774-90D8-E588D93E3362}"/>
                  </a:ext>
                </a:extLst>
              </p:cNvPr>
              <p:cNvSpPr/>
              <p:nvPr/>
            </p:nvSpPr>
            <p:spPr>
              <a:xfrm>
                <a:off x="5099950" y="1514538"/>
                <a:ext cx="1704451" cy="1439961"/>
              </a:xfrm>
              <a:custGeom>
                <a:avLst/>
                <a:gdLst>
                  <a:gd name="connsiteX0" fmla="*/ 5776747 w 9144000"/>
                  <a:gd name="connsiteY0" fmla="*/ 2841023 h 6858000"/>
                  <a:gd name="connsiteX1" fmla="*/ 5586348 w 9144000"/>
                  <a:gd name="connsiteY1" fmla="*/ 3031422 h 6858000"/>
                  <a:gd name="connsiteX2" fmla="*/ 5586348 w 9144000"/>
                  <a:gd name="connsiteY2" fmla="*/ 3857654 h 6858000"/>
                  <a:gd name="connsiteX3" fmla="*/ 5687760 w 9144000"/>
                  <a:gd name="connsiteY3" fmla="*/ 3959066 h 6858000"/>
                  <a:gd name="connsiteX4" fmla="*/ 5781201 w 9144000"/>
                  <a:gd name="connsiteY4" fmla="*/ 3897128 h 6858000"/>
                  <a:gd name="connsiteX5" fmla="*/ 5783100 w 9144000"/>
                  <a:gd name="connsiteY5" fmla="*/ 3887725 h 6858000"/>
                  <a:gd name="connsiteX6" fmla="*/ 5782686 w 9144000"/>
                  <a:gd name="connsiteY6" fmla="*/ 3886725 h 6858000"/>
                  <a:gd name="connsiteX7" fmla="*/ 5782686 w 9144000"/>
                  <a:gd name="connsiteY7" fmla="*/ 3169252 h 6858000"/>
                  <a:gd name="connsiteX8" fmla="*/ 5823249 w 9144000"/>
                  <a:gd name="connsiteY8" fmla="*/ 3128688 h 6858000"/>
                  <a:gd name="connsiteX9" fmla="*/ 5851933 w 9144000"/>
                  <a:gd name="connsiteY9" fmla="*/ 3140570 h 6858000"/>
                  <a:gd name="connsiteX10" fmla="*/ 5857327 w 9144000"/>
                  <a:gd name="connsiteY10" fmla="*/ 3153593 h 6858000"/>
                  <a:gd name="connsiteX11" fmla="*/ 5857327 w 9144000"/>
                  <a:gd name="connsiteY11" fmla="*/ 3653752 h 6858000"/>
                  <a:gd name="connsiteX12" fmla="*/ 5857327 w 9144000"/>
                  <a:gd name="connsiteY12" fmla="*/ 3959066 h 6858000"/>
                  <a:gd name="connsiteX13" fmla="*/ 5857327 w 9144000"/>
                  <a:gd name="connsiteY13" fmla="*/ 4987286 h 6858000"/>
                  <a:gd name="connsiteX14" fmla="*/ 5989162 w 9144000"/>
                  <a:gd name="connsiteY14" fmla="*/ 5119121 h 6858000"/>
                  <a:gd name="connsiteX15" fmla="*/ 6120996 w 9144000"/>
                  <a:gd name="connsiteY15" fmla="*/ 4987286 h 6858000"/>
                  <a:gd name="connsiteX16" fmla="*/ 6120996 w 9144000"/>
                  <a:gd name="connsiteY16" fmla="*/ 3959066 h 6858000"/>
                  <a:gd name="connsiteX17" fmla="*/ 6189154 w 9144000"/>
                  <a:gd name="connsiteY17" fmla="*/ 3959066 h 6858000"/>
                  <a:gd name="connsiteX18" fmla="*/ 6189154 w 9144000"/>
                  <a:gd name="connsiteY18" fmla="*/ 4987286 h 6858000"/>
                  <a:gd name="connsiteX19" fmla="*/ 6320988 w 9144000"/>
                  <a:gd name="connsiteY19" fmla="*/ 5119121 h 6858000"/>
                  <a:gd name="connsiteX20" fmla="*/ 6452823 w 9144000"/>
                  <a:gd name="connsiteY20" fmla="*/ 4987286 h 6858000"/>
                  <a:gd name="connsiteX21" fmla="*/ 6452823 w 9144000"/>
                  <a:gd name="connsiteY21" fmla="*/ 3959066 h 6858000"/>
                  <a:gd name="connsiteX22" fmla="*/ 6452823 w 9144000"/>
                  <a:gd name="connsiteY22" fmla="*/ 3653752 h 6858000"/>
                  <a:gd name="connsiteX23" fmla="*/ 6452823 w 9144000"/>
                  <a:gd name="connsiteY23" fmla="*/ 3153595 h 6858000"/>
                  <a:gd name="connsiteX24" fmla="*/ 6458219 w 9144000"/>
                  <a:gd name="connsiteY24" fmla="*/ 3140570 h 6858000"/>
                  <a:gd name="connsiteX25" fmla="*/ 6486901 w 9144000"/>
                  <a:gd name="connsiteY25" fmla="*/ 3128688 h 6858000"/>
                  <a:gd name="connsiteX26" fmla="*/ 6527466 w 9144000"/>
                  <a:gd name="connsiteY26" fmla="*/ 3169252 h 6858000"/>
                  <a:gd name="connsiteX27" fmla="*/ 6527466 w 9144000"/>
                  <a:gd name="connsiteY27" fmla="*/ 3886725 h 6858000"/>
                  <a:gd name="connsiteX28" fmla="*/ 6527051 w 9144000"/>
                  <a:gd name="connsiteY28" fmla="*/ 3887725 h 6858000"/>
                  <a:gd name="connsiteX29" fmla="*/ 6528950 w 9144000"/>
                  <a:gd name="connsiteY29" fmla="*/ 3897128 h 6858000"/>
                  <a:gd name="connsiteX30" fmla="*/ 6622392 w 9144000"/>
                  <a:gd name="connsiteY30" fmla="*/ 3959066 h 6858000"/>
                  <a:gd name="connsiteX31" fmla="*/ 6723802 w 9144000"/>
                  <a:gd name="connsiteY31" fmla="*/ 3857654 h 6858000"/>
                  <a:gd name="connsiteX32" fmla="*/ 6723802 w 9144000"/>
                  <a:gd name="connsiteY32" fmla="*/ 3031422 h 6858000"/>
                  <a:gd name="connsiteX33" fmla="*/ 6533403 w 9144000"/>
                  <a:gd name="connsiteY33" fmla="*/ 2841023 h 6858000"/>
                  <a:gd name="connsiteX34" fmla="*/ 6520980 w 9144000"/>
                  <a:gd name="connsiteY34" fmla="*/ 2841023 h 6858000"/>
                  <a:gd name="connsiteX35" fmla="*/ 6452823 w 9144000"/>
                  <a:gd name="connsiteY35" fmla="*/ 2841023 h 6858000"/>
                  <a:gd name="connsiteX36" fmla="*/ 5857327 w 9144000"/>
                  <a:gd name="connsiteY36" fmla="*/ 2841023 h 6858000"/>
                  <a:gd name="connsiteX37" fmla="*/ 5789171 w 9144000"/>
                  <a:gd name="connsiteY37" fmla="*/ 2841023 h 6858000"/>
                  <a:gd name="connsiteX38" fmla="*/ 7486386 w 9144000"/>
                  <a:gd name="connsiteY38" fmla="*/ 2827647 h 6858000"/>
                  <a:gd name="connsiteX39" fmla="*/ 7429375 w 9144000"/>
                  <a:gd name="connsiteY39" fmla="*/ 2839158 h 6858000"/>
                  <a:gd name="connsiteX40" fmla="*/ 7351425 w 9144000"/>
                  <a:gd name="connsiteY40" fmla="*/ 2917109 h 6858000"/>
                  <a:gd name="connsiteX41" fmla="*/ 7330153 w 9144000"/>
                  <a:gd name="connsiteY41" fmla="*/ 2972987 h 6858000"/>
                  <a:gd name="connsiteX42" fmla="*/ 7120164 w 9144000"/>
                  <a:gd name="connsiteY42" fmla="*/ 3772088 h 6858000"/>
                  <a:gd name="connsiteX43" fmla="*/ 7192472 w 9144000"/>
                  <a:gd name="connsiteY43" fmla="*/ 3895943 h 6858000"/>
                  <a:gd name="connsiteX44" fmla="*/ 7298586 w 9144000"/>
                  <a:gd name="connsiteY44" fmla="*/ 3859787 h 6858000"/>
                  <a:gd name="connsiteX45" fmla="*/ 7302810 w 9144000"/>
                  <a:gd name="connsiteY45" fmla="*/ 3851176 h 6858000"/>
                  <a:gd name="connsiteX46" fmla="*/ 7302664 w 9144000"/>
                  <a:gd name="connsiteY46" fmla="*/ 3850103 h 6858000"/>
                  <a:gd name="connsiteX47" fmla="*/ 7485012 w 9144000"/>
                  <a:gd name="connsiteY47" fmla="*/ 3156190 h 6858000"/>
                  <a:gd name="connsiteX48" fmla="*/ 7486386 w 9144000"/>
                  <a:gd name="connsiteY48" fmla="*/ 3154380 h 6858000"/>
                  <a:gd name="connsiteX49" fmla="*/ 7486386 w 9144000"/>
                  <a:gd name="connsiteY49" fmla="*/ 3402629 h 6858000"/>
                  <a:gd name="connsiteX50" fmla="*/ 7265463 w 9144000"/>
                  <a:gd name="connsiteY50" fmla="*/ 4206308 h 6858000"/>
                  <a:gd name="connsiteX51" fmla="*/ 7486389 w 9144000"/>
                  <a:gd name="connsiteY51" fmla="*/ 4206308 h 6858000"/>
                  <a:gd name="connsiteX52" fmla="*/ 7486389 w 9144000"/>
                  <a:gd name="connsiteY52" fmla="*/ 4973909 h 6858000"/>
                  <a:gd name="connsiteX53" fmla="*/ 7618223 w 9144000"/>
                  <a:gd name="connsiteY53" fmla="*/ 5105744 h 6858000"/>
                  <a:gd name="connsiteX54" fmla="*/ 7750058 w 9144000"/>
                  <a:gd name="connsiteY54" fmla="*/ 4973909 h 6858000"/>
                  <a:gd name="connsiteX55" fmla="*/ 7750058 w 9144000"/>
                  <a:gd name="connsiteY55" fmla="*/ 4206308 h 6858000"/>
                  <a:gd name="connsiteX56" fmla="*/ 7818215 w 9144000"/>
                  <a:gd name="connsiteY56" fmla="*/ 4206308 h 6858000"/>
                  <a:gd name="connsiteX57" fmla="*/ 7818215 w 9144000"/>
                  <a:gd name="connsiteY57" fmla="*/ 4973909 h 6858000"/>
                  <a:gd name="connsiteX58" fmla="*/ 7950049 w 9144000"/>
                  <a:gd name="connsiteY58" fmla="*/ 5105744 h 6858000"/>
                  <a:gd name="connsiteX59" fmla="*/ 8081884 w 9144000"/>
                  <a:gd name="connsiteY59" fmla="*/ 4973909 h 6858000"/>
                  <a:gd name="connsiteX60" fmla="*/ 8081884 w 9144000"/>
                  <a:gd name="connsiteY60" fmla="*/ 4206308 h 6858000"/>
                  <a:gd name="connsiteX61" fmla="*/ 8297837 w 9144000"/>
                  <a:gd name="connsiteY61" fmla="*/ 4206308 h 6858000"/>
                  <a:gd name="connsiteX62" fmla="*/ 8081882 w 9144000"/>
                  <a:gd name="connsiteY62" fmla="*/ 3420704 h 6858000"/>
                  <a:gd name="connsiteX63" fmla="*/ 8081882 w 9144000"/>
                  <a:gd name="connsiteY63" fmla="*/ 3184966 h 6858000"/>
                  <a:gd name="connsiteX64" fmla="*/ 8268463 w 9144000"/>
                  <a:gd name="connsiteY64" fmla="*/ 3844087 h 6858000"/>
                  <a:gd name="connsiteX65" fmla="*/ 8268341 w 9144000"/>
                  <a:gd name="connsiteY65" fmla="*/ 3845160 h 6858000"/>
                  <a:gd name="connsiteX66" fmla="*/ 8272717 w 9144000"/>
                  <a:gd name="connsiteY66" fmla="*/ 3853694 h 6858000"/>
                  <a:gd name="connsiteX67" fmla="*/ 8378935 w 9144000"/>
                  <a:gd name="connsiteY67" fmla="*/ 3887999 h 6858000"/>
                  <a:gd name="connsiteX68" fmla="*/ 8448284 w 9144000"/>
                  <a:gd name="connsiteY68" fmla="*/ 3762971 h 6858000"/>
                  <a:gd name="connsiteX69" fmla="*/ 8202526 w 9144000"/>
                  <a:gd name="connsiteY69" fmla="*/ 2917109 h 6858000"/>
                  <a:gd name="connsiteX70" fmla="*/ 8124576 w 9144000"/>
                  <a:gd name="connsiteY70" fmla="*/ 2839158 h 6858000"/>
                  <a:gd name="connsiteX71" fmla="*/ 8081882 w 9144000"/>
                  <a:gd name="connsiteY71" fmla="*/ 2827647 h 6858000"/>
                  <a:gd name="connsiteX72" fmla="*/ 8067559 w 9144000"/>
                  <a:gd name="connsiteY72" fmla="*/ 2827647 h 6858000"/>
                  <a:gd name="connsiteX73" fmla="*/ 7486389 w 9144000"/>
                  <a:gd name="connsiteY73" fmla="*/ 2827647 h 6858000"/>
                  <a:gd name="connsiteX74" fmla="*/ 6144309 w 9144000"/>
                  <a:gd name="connsiteY74" fmla="*/ 2254245 h 6858000"/>
                  <a:gd name="connsiteX75" fmla="*/ 5872619 w 9144000"/>
                  <a:gd name="connsiteY75" fmla="*/ 2525935 h 6858000"/>
                  <a:gd name="connsiteX76" fmla="*/ 6144309 w 9144000"/>
                  <a:gd name="connsiteY76" fmla="*/ 2797625 h 6858000"/>
                  <a:gd name="connsiteX77" fmla="*/ 6415998 w 9144000"/>
                  <a:gd name="connsiteY77" fmla="*/ 2525935 h 6858000"/>
                  <a:gd name="connsiteX78" fmla="*/ 6144309 w 9144000"/>
                  <a:gd name="connsiteY78" fmla="*/ 2254245 h 6858000"/>
                  <a:gd name="connsiteX79" fmla="*/ 7773369 w 9144000"/>
                  <a:gd name="connsiteY79" fmla="*/ 2240868 h 6858000"/>
                  <a:gd name="connsiteX80" fmla="*/ 7501680 w 9144000"/>
                  <a:gd name="connsiteY80" fmla="*/ 2512558 h 6858000"/>
                  <a:gd name="connsiteX81" fmla="*/ 7773369 w 9144000"/>
                  <a:gd name="connsiteY81" fmla="*/ 2784248 h 6858000"/>
                  <a:gd name="connsiteX82" fmla="*/ 8045059 w 9144000"/>
                  <a:gd name="connsiteY82" fmla="*/ 2512558 h 6858000"/>
                  <a:gd name="connsiteX83" fmla="*/ 7773369 w 9144000"/>
                  <a:gd name="connsiteY83" fmla="*/ 2240868 h 6858000"/>
                  <a:gd name="connsiteX84" fmla="*/ 0 w 9144000"/>
                  <a:gd name="connsiteY84" fmla="*/ 0 h 6858000"/>
                  <a:gd name="connsiteX85" fmla="*/ 9144000 w 9144000"/>
                  <a:gd name="connsiteY85" fmla="*/ 0 h 6858000"/>
                  <a:gd name="connsiteX86" fmla="*/ 9144000 w 9144000"/>
                  <a:gd name="connsiteY86" fmla="*/ 857250 h 6858000"/>
                  <a:gd name="connsiteX87" fmla="*/ 9144000 w 9144000"/>
                  <a:gd name="connsiteY87" fmla="*/ 1050503 h 6858000"/>
                  <a:gd name="connsiteX88" fmla="*/ 9144000 w 9144000"/>
                  <a:gd name="connsiteY88" fmla="*/ 5807497 h 6858000"/>
                  <a:gd name="connsiteX89" fmla="*/ 9144000 w 9144000"/>
                  <a:gd name="connsiteY89" fmla="*/ 6000750 h 6858000"/>
                  <a:gd name="connsiteX90" fmla="*/ 9144000 w 9144000"/>
                  <a:gd name="connsiteY90" fmla="*/ 6858000 h 6858000"/>
                  <a:gd name="connsiteX91" fmla="*/ 0 w 9144000"/>
                  <a:gd name="connsiteY91" fmla="*/ 6858000 h 6858000"/>
                  <a:gd name="connsiteX92" fmla="*/ 0 w 9144000"/>
                  <a:gd name="connsiteY92" fmla="*/ 5807497 h 6858000"/>
                  <a:gd name="connsiteX93" fmla="*/ 1 w 9144000"/>
                  <a:gd name="connsiteY93" fmla="*/ 5807497 h 6858000"/>
                  <a:gd name="connsiteX94" fmla="*/ 1 w 9144000"/>
                  <a:gd name="connsiteY94" fmla="*/ 1050503 h 6858000"/>
                  <a:gd name="connsiteX95" fmla="*/ 0 w 9144000"/>
                  <a:gd name="connsiteY95" fmla="*/ 1050503 h 6858000"/>
                  <a:gd name="connsiteX0" fmla="*/ 5817814 w 9185067"/>
                  <a:gd name="connsiteY0" fmla="*/ 2863508 h 6880485"/>
                  <a:gd name="connsiteX1" fmla="*/ 5627415 w 9185067"/>
                  <a:gd name="connsiteY1" fmla="*/ 3053907 h 6880485"/>
                  <a:gd name="connsiteX2" fmla="*/ 5627415 w 9185067"/>
                  <a:gd name="connsiteY2" fmla="*/ 3880139 h 6880485"/>
                  <a:gd name="connsiteX3" fmla="*/ 5728827 w 9185067"/>
                  <a:gd name="connsiteY3" fmla="*/ 3981551 h 6880485"/>
                  <a:gd name="connsiteX4" fmla="*/ 5822268 w 9185067"/>
                  <a:gd name="connsiteY4" fmla="*/ 3919613 h 6880485"/>
                  <a:gd name="connsiteX5" fmla="*/ 5824167 w 9185067"/>
                  <a:gd name="connsiteY5" fmla="*/ 3910210 h 6880485"/>
                  <a:gd name="connsiteX6" fmla="*/ 5823753 w 9185067"/>
                  <a:gd name="connsiteY6" fmla="*/ 3909210 h 6880485"/>
                  <a:gd name="connsiteX7" fmla="*/ 5823753 w 9185067"/>
                  <a:gd name="connsiteY7" fmla="*/ 3191737 h 6880485"/>
                  <a:gd name="connsiteX8" fmla="*/ 5864316 w 9185067"/>
                  <a:gd name="connsiteY8" fmla="*/ 3151173 h 6880485"/>
                  <a:gd name="connsiteX9" fmla="*/ 5893000 w 9185067"/>
                  <a:gd name="connsiteY9" fmla="*/ 3163055 h 6880485"/>
                  <a:gd name="connsiteX10" fmla="*/ 5898394 w 9185067"/>
                  <a:gd name="connsiteY10" fmla="*/ 3176078 h 6880485"/>
                  <a:gd name="connsiteX11" fmla="*/ 5898394 w 9185067"/>
                  <a:gd name="connsiteY11" fmla="*/ 3676237 h 6880485"/>
                  <a:gd name="connsiteX12" fmla="*/ 5898394 w 9185067"/>
                  <a:gd name="connsiteY12" fmla="*/ 3981551 h 6880485"/>
                  <a:gd name="connsiteX13" fmla="*/ 5898394 w 9185067"/>
                  <a:gd name="connsiteY13" fmla="*/ 5009771 h 6880485"/>
                  <a:gd name="connsiteX14" fmla="*/ 6030229 w 9185067"/>
                  <a:gd name="connsiteY14" fmla="*/ 5141606 h 6880485"/>
                  <a:gd name="connsiteX15" fmla="*/ 6162063 w 9185067"/>
                  <a:gd name="connsiteY15" fmla="*/ 5009771 h 6880485"/>
                  <a:gd name="connsiteX16" fmla="*/ 6162063 w 9185067"/>
                  <a:gd name="connsiteY16" fmla="*/ 3981551 h 6880485"/>
                  <a:gd name="connsiteX17" fmla="*/ 6230221 w 9185067"/>
                  <a:gd name="connsiteY17" fmla="*/ 3981551 h 6880485"/>
                  <a:gd name="connsiteX18" fmla="*/ 6230221 w 9185067"/>
                  <a:gd name="connsiteY18" fmla="*/ 5009771 h 6880485"/>
                  <a:gd name="connsiteX19" fmla="*/ 6362055 w 9185067"/>
                  <a:gd name="connsiteY19" fmla="*/ 5141606 h 6880485"/>
                  <a:gd name="connsiteX20" fmla="*/ 6493890 w 9185067"/>
                  <a:gd name="connsiteY20" fmla="*/ 5009771 h 6880485"/>
                  <a:gd name="connsiteX21" fmla="*/ 6493890 w 9185067"/>
                  <a:gd name="connsiteY21" fmla="*/ 3981551 h 6880485"/>
                  <a:gd name="connsiteX22" fmla="*/ 6493890 w 9185067"/>
                  <a:gd name="connsiteY22" fmla="*/ 3676237 h 6880485"/>
                  <a:gd name="connsiteX23" fmla="*/ 6493890 w 9185067"/>
                  <a:gd name="connsiteY23" fmla="*/ 3176080 h 6880485"/>
                  <a:gd name="connsiteX24" fmla="*/ 6499286 w 9185067"/>
                  <a:gd name="connsiteY24" fmla="*/ 3163055 h 6880485"/>
                  <a:gd name="connsiteX25" fmla="*/ 6527968 w 9185067"/>
                  <a:gd name="connsiteY25" fmla="*/ 3151173 h 6880485"/>
                  <a:gd name="connsiteX26" fmla="*/ 6568533 w 9185067"/>
                  <a:gd name="connsiteY26" fmla="*/ 3191737 h 6880485"/>
                  <a:gd name="connsiteX27" fmla="*/ 6568533 w 9185067"/>
                  <a:gd name="connsiteY27" fmla="*/ 3909210 h 6880485"/>
                  <a:gd name="connsiteX28" fmla="*/ 6568118 w 9185067"/>
                  <a:gd name="connsiteY28" fmla="*/ 3910210 h 6880485"/>
                  <a:gd name="connsiteX29" fmla="*/ 6570017 w 9185067"/>
                  <a:gd name="connsiteY29" fmla="*/ 3919613 h 6880485"/>
                  <a:gd name="connsiteX30" fmla="*/ 6663459 w 9185067"/>
                  <a:gd name="connsiteY30" fmla="*/ 3981551 h 6880485"/>
                  <a:gd name="connsiteX31" fmla="*/ 6764869 w 9185067"/>
                  <a:gd name="connsiteY31" fmla="*/ 3880139 h 6880485"/>
                  <a:gd name="connsiteX32" fmla="*/ 6764869 w 9185067"/>
                  <a:gd name="connsiteY32" fmla="*/ 3053907 h 6880485"/>
                  <a:gd name="connsiteX33" fmla="*/ 6574470 w 9185067"/>
                  <a:gd name="connsiteY33" fmla="*/ 2863508 h 6880485"/>
                  <a:gd name="connsiteX34" fmla="*/ 6562047 w 9185067"/>
                  <a:gd name="connsiteY34" fmla="*/ 2863508 h 6880485"/>
                  <a:gd name="connsiteX35" fmla="*/ 6493890 w 9185067"/>
                  <a:gd name="connsiteY35" fmla="*/ 2863508 h 6880485"/>
                  <a:gd name="connsiteX36" fmla="*/ 5898394 w 9185067"/>
                  <a:gd name="connsiteY36" fmla="*/ 2863508 h 6880485"/>
                  <a:gd name="connsiteX37" fmla="*/ 5830238 w 9185067"/>
                  <a:gd name="connsiteY37" fmla="*/ 2863508 h 6880485"/>
                  <a:gd name="connsiteX38" fmla="*/ 5817814 w 9185067"/>
                  <a:gd name="connsiteY38" fmla="*/ 2863508 h 6880485"/>
                  <a:gd name="connsiteX39" fmla="*/ 7527453 w 9185067"/>
                  <a:gd name="connsiteY39" fmla="*/ 2850132 h 6880485"/>
                  <a:gd name="connsiteX40" fmla="*/ 7470442 w 9185067"/>
                  <a:gd name="connsiteY40" fmla="*/ 2861643 h 6880485"/>
                  <a:gd name="connsiteX41" fmla="*/ 7392492 w 9185067"/>
                  <a:gd name="connsiteY41" fmla="*/ 2939594 h 6880485"/>
                  <a:gd name="connsiteX42" fmla="*/ 7371220 w 9185067"/>
                  <a:gd name="connsiteY42" fmla="*/ 2995472 h 6880485"/>
                  <a:gd name="connsiteX43" fmla="*/ 7161231 w 9185067"/>
                  <a:gd name="connsiteY43" fmla="*/ 3794573 h 6880485"/>
                  <a:gd name="connsiteX44" fmla="*/ 7233539 w 9185067"/>
                  <a:gd name="connsiteY44" fmla="*/ 3918428 h 6880485"/>
                  <a:gd name="connsiteX45" fmla="*/ 7339653 w 9185067"/>
                  <a:gd name="connsiteY45" fmla="*/ 3882272 h 6880485"/>
                  <a:gd name="connsiteX46" fmla="*/ 7343877 w 9185067"/>
                  <a:gd name="connsiteY46" fmla="*/ 3873661 h 6880485"/>
                  <a:gd name="connsiteX47" fmla="*/ 7343731 w 9185067"/>
                  <a:gd name="connsiteY47" fmla="*/ 3872588 h 6880485"/>
                  <a:gd name="connsiteX48" fmla="*/ 7526079 w 9185067"/>
                  <a:gd name="connsiteY48" fmla="*/ 3178675 h 6880485"/>
                  <a:gd name="connsiteX49" fmla="*/ 7527453 w 9185067"/>
                  <a:gd name="connsiteY49" fmla="*/ 3176865 h 6880485"/>
                  <a:gd name="connsiteX50" fmla="*/ 7527453 w 9185067"/>
                  <a:gd name="connsiteY50" fmla="*/ 3425114 h 6880485"/>
                  <a:gd name="connsiteX51" fmla="*/ 7306530 w 9185067"/>
                  <a:gd name="connsiteY51" fmla="*/ 4228793 h 6880485"/>
                  <a:gd name="connsiteX52" fmla="*/ 7527456 w 9185067"/>
                  <a:gd name="connsiteY52" fmla="*/ 4228793 h 6880485"/>
                  <a:gd name="connsiteX53" fmla="*/ 7527456 w 9185067"/>
                  <a:gd name="connsiteY53" fmla="*/ 4996394 h 6880485"/>
                  <a:gd name="connsiteX54" fmla="*/ 7659290 w 9185067"/>
                  <a:gd name="connsiteY54" fmla="*/ 5128229 h 6880485"/>
                  <a:gd name="connsiteX55" fmla="*/ 7791125 w 9185067"/>
                  <a:gd name="connsiteY55" fmla="*/ 4996394 h 6880485"/>
                  <a:gd name="connsiteX56" fmla="*/ 7791125 w 9185067"/>
                  <a:gd name="connsiteY56" fmla="*/ 4228793 h 6880485"/>
                  <a:gd name="connsiteX57" fmla="*/ 7859282 w 9185067"/>
                  <a:gd name="connsiteY57" fmla="*/ 4228793 h 6880485"/>
                  <a:gd name="connsiteX58" fmla="*/ 7859282 w 9185067"/>
                  <a:gd name="connsiteY58" fmla="*/ 4996394 h 6880485"/>
                  <a:gd name="connsiteX59" fmla="*/ 7991116 w 9185067"/>
                  <a:gd name="connsiteY59" fmla="*/ 5128229 h 6880485"/>
                  <a:gd name="connsiteX60" fmla="*/ 8122951 w 9185067"/>
                  <a:gd name="connsiteY60" fmla="*/ 4996394 h 6880485"/>
                  <a:gd name="connsiteX61" fmla="*/ 8122951 w 9185067"/>
                  <a:gd name="connsiteY61" fmla="*/ 4228793 h 6880485"/>
                  <a:gd name="connsiteX62" fmla="*/ 8338904 w 9185067"/>
                  <a:gd name="connsiteY62" fmla="*/ 4228793 h 6880485"/>
                  <a:gd name="connsiteX63" fmla="*/ 8122949 w 9185067"/>
                  <a:gd name="connsiteY63" fmla="*/ 3443189 h 6880485"/>
                  <a:gd name="connsiteX64" fmla="*/ 8122949 w 9185067"/>
                  <a:gd name="connsiteY64" fmla="*/ 3207451 h 6880485"/>
                  <a:gd name="connsiteX65" fmla="*/ 8309530 w 9185067"/>
                  <a:gd name="connsiteY65" fmla="*/ 3866572 h 6880485"/>
                  <a:gd name="connsiteX66" fmla="*/ 8309408 w 9185067"/>
                  <a:gd name="connsiteY66" fmla="*/ 3867645 h 6880485"/>
                  <a:gd name="connsiteX67" fmla="*/ 8313784 w 9185067"/>
                  <a:gd name="connsiteY67" fmla="*/ 3876179 h 6880485"/>
                  <a:gd name="connsiteX68" fmla="*/ 8420002 w 9185067"/>
                  <a:gd name="connsiteY68" fmla="*/ 3910484 h 6880485"/>
                  <a:gd name="connsiteX69" fmla="*/ 8489351 w 9185067"/>
                  <a:gd name="connsiteY69" fmla="*/ 3785456 h 6880485"/>
                  <a:gd name="connsiteX70" fmla="*/ 8243593 w 9185067"/>
                  <a:gd name="connsiteY70" fmla="*/ 2939594 h 6880485"/>
                  <a:gd name="connsiteX71" fmla="*/ 8165643 w 9185067"/>
                  <a:gd name="connsiteY71" fmla="*/ 2861643 h 6880485"/>
                  <a:gd name="connsiteX72" fmla="*/ 8122949 w 9185067"/>
                  <a:gd name="connsiteY72" fmla="*/ 2850132 h 6880485"/>
                  <a:gd name="connsiteX73" fmla="*/ 8108626 w 9185067"/>
                  <a:gd name="connsiteY73" fmla="*/ 2850132 h 6880485"/>
                  <a:gd name="connsiteX74" fmla="*/ 7527456 w 9185067"/>
                  <a:gd name="connsiteY74" fmla="*/ 2850132 h 6880485"/>
                  <a:gd name="connsiteX75" fmla="*/ 7527453 w 9185067"/>
                  <a:gd name="connsiteY75" fmla="*/ 2850132 h 6880485"/>
                  <a:gd name="connsiteX76" fmla="*/ 6185376 w 9185067"/>
                  <a:gd name="connsiteY76" fmla="*/ 2276730 h 6880485"/>
                  <a:gd name="connsiteX77" fmla="*/ 5913686 w 9185067"/>
                  <a:gd name="connsiteY77" fmla="*/ 2548420 h 6880485"/>
                  <a:gd name="connsiteX78" fmla="*/ 6185376 w 9185067"/>
                  <a:gd name="connsiteY78" fmla="*/ 2820110 h 6880485"/>
                  <a:gd name="connsiteX79" fmla="*/ 6457065 w 9185067"/>
                  <a:gd name="connsiteY79" fmla="*/ 2548420 h 6880485"/>
                  <a:gd name="connsiteX80" fmla="*/ 6185376 w 9185067"/>
                  <a:gd name="connsiteY80" fmla="*/ 2276730 h 6880485"/>
                  <a:gd name="connsiteX81" fmla="*/ 7814436 w 9185067"/>
                  <a:gd name="connsiteY81" fmla="*/ 2263353 h 6880485"/>
                  <a:gd name="connsiteX82" fmla="*/ 7542747 w 9185067"/>
                  <a:gd name="connsiteY82" fmla="*/ 2535043 h 6880485"/>
                  <a:gd name="connsiteX83" fmla="*/ 7814436 w 9185067"/>
                  <a:gd name="connsiteY83" fmla="*/ 2806733 h 6880485"/>
                  <a:gd name="connsiteX84" fmla="*/ 8086126 w 9185067"/>
                  <a:gd name="connsiteY84" fmla="*/ 2535043 h 6880485"/>
                  <a:gd name="connsiteX85" fmla="*/ 7814436 w 9185067"/>
                  <a:gd name="connsiteY85" fmla="*/ 2263353 h 6880485"/>
                  <a:gd name="connsiteX86" fmla="*/ 0 w 9185067"/>
                  <a:gd name="connsiteY86" fmla="*/ 0 h 6880485"/>
                  <a:gd name="connsiteX87" fmla="*/ 9185067 w 9185067"/>
                  <a:gd name="connsiteY87" fmla="*/ 22485 h 6880485"/>
                  <a:gd name="connsiteX88" fmla="*/ 9185067 w 9185067"/>
                  <a:gd name="connsiteY88" fmla="*/ 879735 h 6880485"/>
                  <a:gd name="connsiteX89" fmla="*/ 9185067 w 9185067"/>
                  <a:gd name="connsiteY89" fmla="*/ 1072988 h 6880485"/>
                  <a:gd name="connsiteX90" fmla="*/ 9185067 w 9185067"/>
                  <a:gd name="connsiteY90" fmla="*/ 5829982 h 6880485"/>
                  <a:gd name="connsiteX91" fmla="*/ 9185067 w 9185067"/>
                  <a:gd name="connsiteY91" fmla="*/ 6023235 h 6880485"/>
                  <a:gd name="connsiteX92" fmla="*/ 9185067 w 9185067"/>
                  <a:gd name="connsiteY92" fmla="*/ 6880485 h 6880485"/>
                  <a:gd name="connsiteX93" fmla="*/ 41067 w 9185067"/>
                  <a:gd name="connsiteY93" fmla="*/ 6880485 h 6880485"/>
                  <a:gd name="connsiteX94" fmla="*/ 41067 w 9185067"/>
                  <a:gd name="connsiteY94" fmla="*/ 5829982 h 6880485"/>
                  <a:gd name="connsiteX95" fmla="*/ 41068 w 9185067"/>
                  <a:gd name="connsiteY95" fmla="*/ 5829982 h 6880485"/>
                  <a:gd name="connsiteX96" fmla="*/ 41068 w 9185067"/>
                  <a:gd name="connsiteY96" fmla="*/ 1072988 h 6880485"/>
                  <a:gd name="connsiteX97" fmla="*/ 41067 w 9185067"/>
                  <a:gd name="connsiteY97" fmla="*/ 1072988 h 6880485"/>
                  <a:gd name="connsiteX98" fmla="*/ 0 w 9185067"/>
                  <a:gd name="connsiteY98" fmla="*/ 0 h 6880485"/>
                  <a:gd name="connsiteX0" fmla="*/ 5817814 w 9239919"/>
                  <a:gd name="connsiteY0" fmla="*/ 2863508 h 6880485"/>
                  <a:gd name="connsiteX1" fmla="*/ 5627415 w 9239919"/>
                  <a:gd name="connsiteY1" fmla="*/ 3053907 h 6880485"/>
                  <a:gd name="connsiteX2" fmla="*/ 5627415 w 9239919"/>
                  <a:gd name="connsiteY2" fmla="*/ 3880139 h 6880485"/>
                  <a:gd name="connsiteX3" fmla="*/ 5728827 w 9239919"/>
                  <a:gd name="connsiteY3" fmla="*/ 3981551 h 6880485"/>
                  <a:gd name="connsiteX4" fmla="*/ 5822268 w 9239919"/>
                  <a:gd name="connsiteY4" fmla="*/ 3919613 h 6880485"/>
                  <a:gd name="connsiteX5" fmla="*/ 5824167 w 9239919"/>
                  <a:gd name="connsiteY5" fmla="*/ 3910210 h 6880485"/>
                  <a:gd name="connsiteX6" fmla="*/ 5823753 w 9239919"/>
                  <a:gd name="connsiteY6" fmla="*/ 3909210 h 6880485"/>
                  <a:gd name="connsiteX7" fmla="*/ 5823753 w 9239919"/>
                  <a:gd name="connsiteY7" fmla="*/ 3191737 h 6880485"/>
                  <a:gd name="connsiteX8" fmla="*/ 5864316 w 9239919"/>
                  <a:gd name="connsiteY8" fmla="*/ 3151173 h 6880485"/>
                  <a:gd name="connsiteX9" fmla="*/ 5893000 w 9239919"/>
                  <a:gd name="connsiteY9" fmla="*/ 3163055 h 6880485"/>
                  <a:gd name="connsiteX10" fmla="*/ 5898394 w 9239919"/>
                  <a:gd name="connsiteY10" fmla="*/ 3176078 h 6880485"/>
                  <a:gd name="connsiteX11" fmla="*/ 5898394 w 9239919"/>
                  <a:gd name="connsiteY11" fmla="*/ 3676237 h 6880485"/>
                  <a:gd name="connsiteX12" fmla="*/ 5898394 w 9239919"/>
                  <a:gd name="connsiteY12" fmla="*/ 3981551 h 6880485"/>
                  <a:gd name="connsiteX13" fmla="*/ 5898394 w 9239919"/>
                  <a:gd name="connsiteY13" fmla="*/ 5009771 h 6880485"/>
                  <a:gd name="connsiteX14" fmla="*/ 6030229 w 9239919"/>
                  <a:gd name="connsiteY14" fmla="*/ 5141606 h 6880485"/>
                  <a:gd name="connsiteX15" fmla="*/ 6162063 w 9239919"/>
                  <a:gd name="connsiteY15" fmla="*/ 5009771 h 6880485"/>
                  <a:gd name="connsiteX16" fmla="*/ 6162063 w 9239919"/>
                  <a:gd name="connsiteY16" fmla="*/ 3981551 h 6880485"/>
                  <a:gd name="connsiteX17" fmla="*/ 6230221 w 9239919"/>
                  <a:gd name="connsiteY17" fmla="*/ 3981551 h 6880485"/>
                  <a:gd name="connsiteX18" fmla="*/ 6230221 w 9239919"/>
                  <a:gd name="connsiteY18" fmla="*/ 5009771 h 6880485"/>
                  <a:gd name="connsiteX19" fmla="*/ 6362055 w 9239919"/>
                  <a:gd name="connsiteY19" fmla="*/ 5141606 h 6880485"/>
                  <a:gd name="connsiteX20" fmla="*/ 6493890 w 9239919"/>
                  <a:gd name="connsiteY20" fmla="*/ 5009771 h 6880485"/>
                  <a:gd name="connsiteX21" fmla="*/ 6493890 w 9239919"/>
                  <a:gd name="connsiteY21" fmla="*/ 3981551 h 6880485"/>
                  <a:gd name="connsiteX22" fmla="*/ 6493890 w 9239919"/>
                  <a:gd name="connsiteY22" fmla="*/ 3676237 h 6880485"/>
                  <a:gd name="connsiteX23" fmla="*/ 6493890 w 9239919"/>
                  <a:gd name="connsiteY23" fmla="*/ 3176080 h 6880485"/>
                  <a:gd name="connsiteX24" fmla="*/ 6499286 w 9239919"/>
                  <a:gd name="connsiteY24" fmla="*/ 3163055 h 6880485"/>
                  <a:gd name="connsiteX25" fmla="*/ 6527968 w 9239919"/>
                  <a:gd name="connsiteY25" fmla="*/ 3151173 h 6880485"/>
                  <a:gd name="connsiteX26" fmla="*/ 6568533 w 9239919"/>
                  <a:gd name="connsiteY26" fmla="*/ 3191737 h 6880485"/>
                  <a:gd name="connsiteX27" fmla="*/ 6568533 w 9239919"/>
                  <a:gd name="connsiteY27" fmla="*/ 3909210 h 6880485"/>
                  <a:gd name="connsiteX28" fmla="*/ 6568118 w 9239919"/>
                  <a:gd name="connsiteY28" fmla="*/ 3910210 h 6880485"/>
                  <a:gd name="connsiteX29" fmla="*/ 6570017 w 9239919"/>
                  <a:gd name="connsiteY29" fmla="*/ 3919613 h 6880485"/>
                  <a:gd name="connsiteX30" fmla="*/ 6663459 w 9239919"/>
                  <a:gd name="connsiteY30" fmla="*/ 3981551 h 6880485"/>
                  <a:gd name="connsiteX31" fmla="*/ 6764869 w 9239919"/>
                  <a:gd name="connsiteY31" fmla="*/ 3880139 h 6880485"/>
                  <a:gd name="connsiteX32" fmla="*/ 6764869 w 9239919"/>
                  <a:gd name="connsiteY32" fmla="*/ 3053907 h 6880485"/>
                  <a:gd name="connsiteX33" fmla="*/ 6574470 w 9239919"/>
                  <a:gd name="connsiteY33" fmla="*/ 2863508 h 6880485"/>
                  <a:gd name="connsiteX34" fmla="*/ 6562047 w 9239919"/>
                  <a:gd name="connsiteY34" fmla="*/ 2863508 h 6880485"/>
                  <a:gd name="connsiteX35" fmla="*/ 6493890 w 9239919"/>
                  <a:gd name="connsiteY35" fmla="*/ 2863508 h 6880485"/>
                  <a:gd name="connsiteX36" fmla="*/ 5898394 w 9239919"/>
                  <a:gd name="connsiteY36" fmla="*/ 2863508 h 6880485"/>
                  <a:gd name="connsiteX37" fmla="*/ 5830238 w 9239919"/>
                  <a:gd name="connsiteY37" fmla="*/ 2863508 h 6880485"/>
                  <a:gd name="connsiteX38" fmla="*/ 5817814 w 9239919"/>
                  <a:gd name="connsiteY38" fmla="*/ 2863508 h 6880485"/>
                  <a:gd name="connsiteX39" fmla="*/ 7527453 w 9239919"/>
                  <a:gd name="connsiteY39" fmla="*/ 2850132 h 6880485"/>
                  <a:gd name="connsiteX40" fmla="*/ 7470442 w 9239919"/>
                  <a:gd name="connsiteY40" fmla="*/ 2861643 h 6880485"/>
                  <a:gd name="connsiteX41" fmla="*/ 7392492 w 9239919"/>
                  <a:gd name="connsiteY41" fmla="*/ 2939594 h 6880485"/>
                  <a:gd name="connsiteX42" fmla="*/ 7371220 w 9239919"/>
                  <a:gd name="connsiteY42" fmla="*/ 2995472 h 6880485"/>
                  <a:gd name="connsiteX43" fmla="*/ 7161231 w 9239919"/>
                  <a:gd name="connsiteY43" fmla="*/ 3794573 h 6880485"/>
                  <a:gd name="connsiteX44" fmla="*/ 7233539 w 9239919"/>
                  <a:gd name="connsiteY44" fmla="*/ 3918428 h 6880485"/>
                  <a:gd name="connsiteX45" fmla="*/ 7339653 w 9239919"/>
                  <a:gd name="connsiteY45" fmla="*/ 3882272 h 6880485"/>
                  <a:gd name="connsiteX46" fmla="*/ 7343877 w 9239919"/>
                  <a:gd name="connsiteY46" fmla="*/ 3873661 h 6880485"/>
                  <a:gd name="connsiteX47" fmla="*/ 7343731 w 9239919"/>
                  <a:gd name="connsiteY47" fmla="*/ 3872588 h 6880485"/>
                  <a:gd name="connsiteX48" fmla="*/ 7526079 w 9239919"/>
                  <a:gd name="connsiteY48" fmla="*/ 3178675 h 6880485"/>
                  <a:gd name="connsiteX49" fmla="*/ 7527453 w 9239919"/>
                  <a:gd name="connsiteY49" fmla="*/ 3176865 h 6880485"/>
                  <a:gd name="connsiteX50" fmla="*/ 7527453 w 9239919"/>
                  <a:gd name="connsiteY50" fmla="*/ 3425114 h 6880485"/>
                  <a:gd name="connsiteX51" fmla="*/ 7306530 w 9239919"/>
                  <a:gd name="connsiteY51" fmla="*/ 4228793 h 6880485"/>
                  <a:gd name="connsiteX52" fmla="*/ 7527456 w 9239919"/>
                  <a:gd name="connsiteY52" fmla="*/ 4228793 h 6880485"/>
                  <a:gd name="connsiteX53" fmla="*/ 7527456 w 9239919"/>
                  <a:gd name="connsiteY53" fmla="*/ 4996394 h 6880485"/>
                  <a:gd name="connsiteX54" fmla="*/ 7659290 w 9239919"/>
                  <a:gd name="connsiteY54" fmla="*/ 5128229 h 6880485"/>
                  <a:gd name="connsiteX55" fmla="*/ 7791125 w 9239919"/>
                  <a:gd name="connsiteY55" fmla="*/ 4996394 h 6880485"/>
                  <a:gd name="connsiteX56" fmla="*/ 7791125 w 9239919"/>
                  <a:gd name="connsiteY56" fmla="*/ 4228793 h 6880485"/>
                  <a:gd name="connsiteX57" fmla="*/ 7859282 w 9239919"/>
                  <a:gd name="connsiteY57" fmla="*/ 4228793 h 6880485"/>
                  <a:gd name="connsiteX58" fmla="*/ 7859282 w 9239919"/>
                  <a:gd name="connsiteY58" fmla="*/ 4996394 h 6880485"/>
                  <a:gd name="connsiteX59" fmla="*/ 7991116 w 9239919"/>
                  <a:gd name="connsiteY59" fmla="*/ 5128229 h 6880485"/>
                  <a:gd name="connsiteX60" fmla="*/ 8122951 w 9239919"/>
                  <a:gd name="connsiteY60" fmla="*/ 4996394 h 6880485"/>
                  <a:gd name="connsiteX61" fmla="*/ 8122951 w 9239919"/>
                  <a:gd name="connsiteY61" fmla="*/ 4228793 h 6880485"/>
                  <a:gd name="connsiteX62" fmla="*/ 8338904 w 9239919"/>
                  <a:gd name="connsiteY62" fmla="*/ 4228793 h 6880485"/>
                  <a:gd name="connsiteX63" fmla="*/ 8122949 w 9239919"/>
                  <a:gd name="connsiteY63" fmla="*/ 3443189 h 6880485"/>
                  <a:gd name="connsiteX64" fmla="*/ 8122949 w 9239919"/>
                  <a:gd name="connsiteY64" fmla="*/ 3207451 h 6880485"/>
                  <a:gd name="connsiteX65" fmla="*/ 8309530 w 9239919"/>
                  <a:gd name="connsiteY65" fmla="*/ 3866572 h 6880485"/>
                  <a:gd name="connsiteX66" fmla="*/ 8309408 w 9239919"/>
                  <a:gd name="connsiteY66" fmla="*/ 3867645 h 6880485"/>
                  <a:gd name="connsiteX67" fmla="*/ 8313784 w 9239919"/>
                  <a:gd name="connsiteY67" fmla="*/ 3876179 h 6880485"/>
                  <a:gd name="connsiteX68" fmla="*/ 8420002 w 9239919"/>
                  <a:gd name="connsiteY68" fmla="*/ 3910484 h 6880485"/>
                  <a:gd name="connsiteX69" fmla="*/ 8489351 w 9239919"/>
                  <a:gd name="connsiteY69" fmla="*/ 3785456 h 6880485"/>
                  <a:gd name="connsiteX70" fmla="*/ 8243593 w 9239919"/>
                  <a:gd name="connsiteY70" fmla="*/ 2939594 h 6880485"/>
                  <a:gd name="connsiteX71" fmla="*/ 8165643 w 9239919"/>
                  <a:gd name="connsiteY71" fmla="*/ 2861643 h 6880485"/>
                  <a:gd name="connsiteX72" fmla="*/ 8122949 w 9239919"/>
                  <a:gd name="connsiteY72" fmla="*/ 2850132 h 6880485"/>
                  <a:gd name="connsiteX73" fmla="*/ 8108626 w 9239919"/>
                  <a:gd name="connsiteY73" fmla="*/ 2850132 h 6880485"/>
                  <a:gd name="connsiteX74" fmla="*/ 7527456 w 9239919"/>
                  <a:gd name="connsiteY74" fmla="*/ 2850132 h 6880485"/>
                  <a:gd name="connsiteX75" fmla="*/ 7527453 w 9239919"/>
                  <a:gd name="connsiteY75" fmla="*/ 2850132 h 6880485"/>
                  <a:gd name="connsiteX76" fmla="*/ 6185376 w 9239919"/>
                  <a:gd name="connsiteY76" fmla="*/ 2276730 h 6880485"/>
                  <a:gd name="connsiteX77" fmla="*/ 5913686 w 9239919"/>
                  <a:gd name="connsiteY77" fmla="*/ 2548420 h 6880485"/>
                  <a:gd name="connsiteX78" fmla="*/ 6185376 w 9239919"/>
                  <a:gd name="connsiteY78" fmla="*/ 2820110 h 6880485"/>
                  <a:gd name="connsiteX79" fmla="*/ 6457065 w 9239919"/>
                  <a:gd name="connsiteY79" fmla="*/ 2548420 h 6880485"/>
                  <a:gd name="connsiteX80" fmla="*/ 6185376 w 9239919"/>
                  <a:gd name="connsiteY80" fmla="*/ 2276730 h 6880485"/>
                  <a:gd name="connsiteX81" fmla="*/ 7814436 w 9239919"/>
                  <a:gd name="connsiteY81" fmla="*/ 2263353 h 6880485"/>
                  <a:gd name="connsiteX82" fmla="*/ 7542747 w 9239919"/>
                  <a:gd name="connsiteY82" fmla="*/ 2535043 h 6880485"/>
                  <a:gd name="connsiteX83" fmla="*/ 7814436 w 9239919"/>
                  <a:gd name="connsiteY83" fmla="*/ 2806733 h 6880485"/>
                  <a:gd name="connsiteX84" fmla="*/ 8086126 w 9239919"/>
                  <a:gd name="connsiteY84" fmla="*/ 2535043 h 6880485"/>
                  <a:gd name="connsiteX85" fmla="*/ 7814436 w 9239919"/>
                  <a:gd name="connsiteY85" fmla="*/ 2263353 h 6880485"/>
                  <a:gd name="connsiteX86" fmla="*/ 0 w 9239919"/>
                  <a:gd name="connsiteY86" fmla="*/ 0 h 6880485"/>
                  <a:gd name="connsiteX87" fmla="*/ 9185067 w 9239919"/>
                  <a:gd name="connsiteY87" fmla="*/ 22485 h 6880485"/>
                  <a:gd name="connsiteX88" fmla="*/ 9185067 w 9239919"/>
                  <a:gd name="connsiteY88" fmla="*/ 879735 h 6880485"/>
                  <a:gd name="connsiteX89" fmla="*/ 9185067 w 9239919"/>
                  <a:gd name="connsiteY89" fmla="*/ 1072988 h 6880485"/>
                  <a:gd name="connsiteX90" fmla="*/ 9185067 w 9239919"/>
                  <a:gd name="connsiteY90" fmla="*/ 5829982 h 6880485"/>
                  <a:gd name="connsiteX91" fmla="*/ 9185067 w 9239919"/>
                  <a:gd name="connsiteY91" fmla="*/ 6023235 h 6880485"/>
                  <a:gd name="connsiteX92" fmla="*/ 9185067 w 9239919"/>
                  <a:gd name="connsiteY92" fmla="*/ 6880485 h 6880485"/>
                  <a:gd name="connsiteX93" fmla="*/ 9239919 w 9239919"/>
                  <a:gd name="connsiteY93" fmla="*/ 5846164 h 6880485"/>
                  <a:gd name="connsiteX94" fmla="*/ 41067 w 9239919"/>
                  <a:gd name="connsiteY94" fmla="*/ 5829982 h 6880485"/>
                  <a:gd name="connsiteX95" fmla="*/ 41068 w 9239919"/>
                  <a:gd name="connsiteY95" fmla="*/ 5829982 h 6880485"/>
                  <a:gd name="connsiteX96" fmla="*/ 41068 w 9239919"/>
                  <a:gd name="connsiteY96" fmla="*/ 1072988 h 6880485"/>
                  <a:gd name="connsiteX97" fmla="*/ 41067 w 9239919"/>
                  <a:gd name="connsiteY97" fmla="*/ 1072988 h 6880485"/>
                  <a:gd name="connsiteX98" fmla="*/ 0 w 9239919"/>
                  <a:gd name="connsiteY98" fmla="*/ 0 h 6880485"/>
                  <a:gd name="connsiteX0" fmla="*/ 5817814 w 9239919"/>
                  <a:gd name="connsiteY0" fmla="*/ 2863508 h 6023235"/>
                  <a:gd name="connsiteX1" fmla="*/ 5627415 w 9239919"/>
                  <a:gd name="connsiteY1" fmla="*/ 3053907 h 6023235"/>
                  <a:gd name="connsiteX2" fmla="*/ 5627415 w 9239919"/>
                  <a:gd name="connsiteY2" fmla="*/ 3880139 h 6023235"/>
                  <a:gd name="connsiteX3" fmla="*/ 5728827 w 9239919"/>
                  <a:gd name="connsiteY3" fmla="*/ 3981551 h 6023235"/>
                  <a:gd name="connsiteX4" fmla="*/ 5822268 w 9239919"/>
                  <a:gd name="connsiteY4" fmla="*/ 3919613 h 6023235"/>
                  <a:gd name="connsiteX5" fmla="*/ 5824167 w 9239919"/>
                  <a:gd name="connsiteY5" fmla="*/ 3910210 h 6023235"/>
                  <a:gd name="connsiteX6" fmla="*/ 5823753 w 9239919"/>
                  <a:gd name="connsiteY6" fmla="*/ 3909210 h 6023235"/>
                  <a:gd name="connsiteX7" fmla="*/ 5823753 w 9239919"/>
                  <a:gd name="connsiteY7" fmla="*/ 3191737 h 6023235"/>
                  <a:gd name="connsiteX8" fmla="*/ 5864316 w 9239919"/>
                  <a:gd name="connsiteY8" fmla="*/ 3151173 h 6023235"/>
                  <a:gd name="connsiteX9" fmla="*/ 5893000 w 9239919"/>
                  <a:gd name="connsiteY9" fmla="*/ 3163055 h 6023235"/>
                  <a:gd name="connsiteX10" fmla="*/ 5898394 w 9239919"/>
                  <a:gd name="connsiteY10" fmla="*/ 3176078 h 6023235"/>
                  <a:gd name="connsiteX11" fmla="*/ 5898394 w 9239919"/>
                  <a:gd name="connsiteY11" fmla="*/ 3676237 h 6023235"/>
                  <a:gd name="connsiteX12" fmla="*/ 5898394 w 9239919"/>
                  <a:gd name="connsiteY12" fmla="*/ 3981551 h 6023235"/>
                  <a:gd name="connsiteX13" fmla="*/ 5898394 w 9239919"/>
                  <a:gd name="connsiteY13" fmla="*/ 5009771 h 6023235"/>
                  <a:gd name="connsiteX14" fmla="*/ 6030229 w 9239919"/>
                  <a:gd name="connsiteY14" fmla="*/ 5141606 h 6023235"/>
                  <a:gd name="connsiteX15" fmla="*/ 6162063 w 9239919"/>
                  <a:gd name="connsiteY15" fmla="*/ 5009771 h 6023235"/>
                  <a:gd name="connsiteX16" fmla="*/ 6162063 w 9239919"/>
                  <a:gd name="connsiteY16" fmla="*/ 3981551 h 6023235"/>
                  <a:gd name="connsiteX17" fmla="*/ 6230221 w 9239919"/>
                  <a:gd name="connsiteY17" fmla="*/ 3981551 h 6023235"/>
                  <a:gd name="connsiteX18" fmla="*/ 6230221 w 9239919"/>
                  <a:gd name="connsiteY18" fmla="*/ 5009771 h 6023235"/>
                  <a:gd name="connsiteX19" fmla="*/ 6362055 w 9239919"/>
                  <a:gd name="connsiteY19" fmla="*/ 5141606 h 6023235"/>
                  <a:gd name="connsiteX20" fmla="*/ 6493890 w 9239919"/>
                  <a:gd name="connsiteY20" fmla="*/ 5009771 h 6023235"/>
                  <a:gd name="connsiteX21" fmla="*/ 6493890 w 9239919"/>
                  <a:gd name="connsiteY21" fmla="*/ 3981551 h 6023235"/>
                  <a:gd name="connsiteX22" fmla="*/ 6493890 w 9239919"/>
                  <a:gd name="connsiteY22" fmla="*/ 3676237 h 6023235"/>
                  <a:gd name="connsiteX23" fmla="*/ 6493890 w 9239919"/>
                  <a:gd name="connsiteY23" fmla="*/ 3176080 h 6023235"/>
                  <a:gd name="connsiteX24" fmla="*/ 6499286 w 9239919"/>
                  <a:gd name="connsiteY24" fmla="*/ 3163055 h 6023235"/>
                  <a:gd name="connsiteX25" fmla="*/ 6527968 w 9239919"/>
                  <a:gd name="connsiteY25" fmla="*/ 3151173 h 6023235"/>
                  <a:gd name="connsiteX26" fmla="*/ 6568533 w 9239919"/>
                  <a:gd name="connsiteY26" fmla="*/ 3191737 h 6023235"/>
                  <a:gd name="connsiteX27" fmla="*/ 6568533 w 9239919"/>
                  <a:gd name="connsiteY27" fmla="*/ 3909210 h 6023235"/>
                  <a:gd name="connsiteX28" fmla="*/ 6568118 w 9239919"/>
                  <a:gd name="connsiteY28" fmla="*/ 3910210 h 6023235"/>
                  <a:gd name="connsiteX29" fmla="*/ 6570017 w 9239919"/>
                  <a:gd name="connsiteY29" fmla="*/ 3919613 h 6023235"/>
                  <a:gd name="connsiteX30" fmla="*/ 6663459 w 9239919"/>
                  <a:gd name="connsiteY30" fmla="*/ 3981551 h 6023235"/>
                  <a:gd name="connsiteX31" fmla="*/ 6764869 w 9239919"/>
                  <a:gd name="connsiteY31" fmla="*/ 3880139 h 6023235"/>
                  <a:gd name="connsiteX32" fmla="*/ 6764869 w 9239919"/>
                  <a:gd name="connsiteY32" fmla="*/ 3053907 h 6023235"/>
                  <a:gd name="connsiteX33" fmla="*/ 6574470 w 9239919"/>
                  <a:gd name="connsiteY33" fmla="*/ 2863508 h 6023235"/>
                  <a:gd name="connsiteX34" fmla="*/ 6562047 w 9239919"/>
                  <a:gd name="connsiteY34" fmla="*/ 2863508 h 6023235"/>
                  <a:gd name="connsiteX35" fmla="*/ 6493890 w 9239919"/>
                  <a:gd name="connsiteY35" fmla="*/ 2863508 h 6023235"/>
                  <a:gd name="connsiteX36" fmla="*/ 5898394 w 9239919"/>
                  <a:gd name="connsiteY36" fmla="*/ 2863508 h 6023235"/>
                  <a:gd name="connsiteX37" fmla="*/ 5830238 w 9239919"/>
                  <a:gd name="connsiteY37" fmla="*/ 2863508 h 6023235"/>
                  <a:gd name="connsiteX38" fmla="*/ 5817814 w 9239919"/>
                  <a:gd name="connsiteY38" fmla="*/ 2863508 h 6023235"/>
                  <a:gd name="connsiteX39" fmla="*/ 7527453 w 9239919"/>
                  <a:gd name="connsiteY39" fmla="*/ 2850132 h 6023235"/>
                  <a:gd name="connsiteX40" fmla="*/ 7470442 w 9239919"/>
                  <a:gd name="connsiteY40" fmla="*/ 2861643 h 6023235"/>
                  <a:gd name="connsiteX41" fmla="*/ 7392492 w 9239919"/>
                  <a:gd name="connsiteY41" fmla="*/ 2939594 h 6023235"/>
                  <a:gd name="connsiteX42" fmla="*/ 7371220 w 9239919"/>
                  <a:gd name="connsiteY42" fmla="*/ 2995472 h 6023235"/>
                  <a:gd name="connsiteX43" fmla="*/ 7161231 w 9239919"/>
                  <a:gd name="connsiteY43" fmla="*/ 3794573 h 6023235"/>
                  <a:gd name="connsiteX44" fmla="*/ 7233539 w 9239919"/>
                  <a:gd name="connsiteY44" fmla="*/ 3918428 h 6023235"/>
                  <a:gd name="connsiteX45" fmla="*/ 7339653 w 9239919"/>
                  <a:gd name="connsiteY45" fmla="*/ 3882272 h 6023235"/>
                  <a:gd name="connsiteX46" fmla="*/ 7343877 w 9239919"/>
                  <a:gd name="connsiteY46" fmla="*/ 3873661 h 6023235"/>
                  <a:gd name="connsiteX47" fmla="*/ 7343731 w 9239919"/>
                  <a:gd name="connsiteY47" fmla="*/ 3872588 h 6023235"/>
                  <a:gd name="connsiteX48" fmla="*/ 7526079 w 9239919"/>
                  <a:gd name="connsiteY48" fmla="*/ 3178675 h 6023235"/>
                  <a:gd name="connsiteX49" fmla="*/ 7527453 w 9239919"/>
                  <a:gd name="connsiteY49" fmla="*/ 3176865 h 6023235"/>
                  <a:gd name="connsiteX50" fmla="*/ 7527453 w 9239919"/>
                  <a:gd name="connsiteY50" fmla="*/ 3425114 h 6023235"/>
                  <a:gd name="connsiteX51" fmla="*/ 7306530 w 9239919"/>
                  <a:gd name="connsiteY51" fmla="*/ 4228793 h 6023235"/>
                  <a:gd name="connsiteX52" fmla="*/ 7527456 w 9239919"/>
                  <a:gd name="connsiteY52" fmla="*/ 4228793 h 6023235"/>
                  <a:gd name="connsiteX53" fmla="*/ 7527456 w 9239919"/>
                  <a:gd name="connsiteY53" fmla="*/ 4996394 h 6023235"/>
                  <a:gd name="connsiteX54" fmla="*/ 7659290 w 9239919"/>
                  <a:gd name="connsiteY54" fmla="*/ 5128229 h 6023235"/>
                  <a:gd name="connsiteX55" fmla="*/ 7791125 w 9239919"/>
                  <a:gd name="connsiteY55" fmla="*/ 4996394 h 6023235"/>
                  <a:gd name="connsiteX56" fmla="*/ 7791125 w 9239919"/>
                  <a:gd name="connsiteY56" fmla="*/ 4228793 h 6023235"/>
                  <a:gd name="connsiteX57" fmla="*/ 7859282 w 9239919"/>
                  <a:gd name="connsiteY57" fmla="*/ 4228793 h 6023235"/>
                  <a:gd name="connsiteX58" fmla="*/ 7859282 w 9239919"/>
                  <a:gd name="connsiteY58" fmla="*/ 4996394 h 6023235"/>
                  <a:gd name="connsiteX59" fmla="*/ 7991116 w 9239919"/>
                  <a:gd name="connsiteY59" fmla="*/ 5128229 h 6023235"/>
                  <a:gd name="connsiteX60" fmla="*/ 8122951 w 9239919"/>
                  <a:gd name="connsiteY60" fmla="*/ 4996394 h 6023235"/>
                  <a:gd name="connsiteX61" fmla="*/ 8122951 w 9239919"/>
                  <a:gd name="connsiteY61" fmla="*/ 4228793 h 6023235"/>
                  <a:gd name="connsiteX62" fmla="*/ 8338904 w 9239919"/>
                  <a:gd name="connsiteY62" fmla="*/ 4228793 h 6023235"/>
                  <a:gd name="connsiteX63" fmla="*/ 8122949 w 9239919"/>
                  <a:gd name="connsiteY63" fmla="*/ 3443189 h 6023235"/>
                  <a:gd name="connsiteX64" fmla="*/ 8122949 w 9239919"/>
                  <a:gd name="connsiteY64" fmla="*/ 3207451 h 6023235"/>
                  <a:gd name="connsiteX65" fmla="*/ 8309530 w 9239919"/>
                  <a:gd name="connsiteY65" fmla="*/ 3866572 h 6023235"/>
                  <a:gd name="connsiteX66" fmla="*/ 8309408 w 9239919"/>
                  <a:gd name="connsiteY66" fmla="*/ 3867645 h 6023235"/>
                  <a:gd name="connsiteX67" fmla="*/ 8313784 w 9239919"/>
                  <a:gd name="connsiteY67" fmla="*/ 3876179 h 6023235"/>
                  <a:gd name="connsiteX68" fmla="*/ 8420002 w 9239919"/>
                  <a:gd name="connsiteY68" fmla="*/ 3910484 h 6023235"/>
                  <a:gd name="connsiteX69" fmla="*/ 8489351 w 9239919"/>
                  <a:gd name="connsiteY69" fmla="*/ 3785456 h 6023235"/>
                  <a:gd name="connsiteX70" fmla="*/ 8243593 w 9239919"/>
                  <a:gd name="connsiteY70" fmla="*/ 2939594 h 6023235"/>
                  <a:gd name="connsiteX71" fmla="*/ 8165643 w 9239919"/>
                  <a:gd name="connsiteY71" fmla="*/ 2861643 h 6023235"/>
                  <a:gd name="connsiteX72" fmla="*/ 8122949 w 9239919"/>
                  <a:gd name="connsiteY72" fmla="*/ 2850132 h 6023235"/>
                  <a:gd name="connsiteX73" fmla="*/ 8108626 w 9239919"/>
                  <a:gd name="connsiteY73" fmla="*/ 2850132 h 6023235"/>
                  <a:gd name="connsiteX74" fmla="*/ 7527456 w 9239919"/>
                  <a:gd name="connsiteY74" fmla="*/ 2850132 h 6023235"/>
                  <a:gd name="connsiteX75" fmla="*/ 7527453 w 9239919"/>
                  <a:gd name="connsiteY75" fmla="*/ 2850132 h 6023235"/>
                  <a:gd name="connsiteX76" fmla="*/ 6185376 w 9239919"/>
                  <a:gd name="connsiteY76" fmla="*/ 2276730 h 6023235"/>
                  <a:gd name="connsiteX77" fmla="*/ 5913686 w 9239919"/>
                  <a:gd name="connsiteY77" fmla="*/ 2548420 h 6023235"/>
                  <a:gd name="connsiteX78" fmla="*/ 6185376 w 9239919"/>
                  <a:gd name="connsiteY78" fmla="*/ 2820110 h 6023235"/>
                  <a:gd name="connsiteX79" fmla="*/ 6457065 w 9239919"/>
                  <a:gd name="connsiteY79" fmla="*/ 2548420 h 6023235"/>
                  <a:gd name="connsiteX80" fmla="*/ 6185376 w 9239919"/>
                  <a:gd name="connsiteY80" fmla="*/ 2276730 h 6023235"/>
                  <a:gd name="connsiteX81" fmla="*/ 7814436 w 9239919"/>
                  <a:gd name="connsiteY81" fmla="*/ 2263353 h 6023235"/>
                  <a:gd name="connsiteX82" fmla="*/ 7542747 w 9239919"/>
                  <a:gd name="connsiteY82" fmla="*/ 2535043 h 6023235"/>
                  <a:gd name="connsiteX83" fmla="*/ 7814436 w 9239919"/>
                  <a:gd name="connsiteY83" fmla="*/ 2806733 h 6023235"/>
                  <a:gd name="connsiteX84" fmla="*/ 8086126 w 9239919"/>
                  <a:gd name="connsiteY84" fmla="*/ 2535043 h 6023235"/>
                  <a:gd name="connsiteX85" fmla="*/ 7814436 w 9239919"/>
                  <a:gd name="connsiteY85" fmla="*/ 2263353 h 6023235"/>
                  <a:gd name="connsiteX86" fmla="*/ 0 w 9239919"/>
                  <a:gd name="connsiteY86" fmla="*/ 0 h 6023235"/>
                  <a:gd name="connsiteX87" fmla="*/ 9185067 w 9239919"/>
                  <a:gd name="connsiteY87" fmla="*/ 22485 h 6023235"/>
                  <a:gd name="connsiteX88" fmla="*/ 9185067 w 9239919"/>
                  <a:gd name="connsiteY88" fmla="*/ 879735 h 6023235"/>
                  <a:gd name="connsiteX89" fmla="*/ 9185067 w 9239919"/>
                  <a:gd name="connsiteY89" fmla="*/ 1072988 h 6023235"/>
                  <a:gd name="connsiteX90" fmla="*/ 9185067 w 9239919"/>
                  <a:gd name="connsiteY90" fmla="*/ 5829982 h 6023235"/>
                  <a:gd name="connsiteX91" fmla="*/ 9185067 w 9239919"/>
                  <a:gd name="connsiteY91" fmla="*/ 6023235 h 6023235"/>
                  <a:gd name="connsiteX92" fmla="*/ 9144000 w 9239919"/>
                  <a:gd name="connsiteY92" fmla="*/ 5846164 h 6023235"/>
                  <a:gd name="connsiteX93" fmla="*/ 9239919 w 9239919"/>
                  <a:gd name="connsiteY93" fmla="*/ 5846164 h 6023235"/>
                  <a:gd name="connsiteX94" fmla="*/ 41067 w 9239919"/>
                  <a:gd name="connsiteY94" fmla="*/ 5829982 h 6023235"/>
                  <a:gd name="connsiteX95" fmla="*/ 41068 w 9239919"/>
                  <a:gd name="connsiteY95" fmla="*/ 5829982 h 6023235"/>
                  <a:gd name="connsiteX96" fmla="*/ 41068 w 9239919"/>
                  <a:gd name="connsiteY96" fmla="*/ 1072988 h 6023235"/>
                  <a:gd name="connsiteX97" fmla="*/ 41067 w 9239919"/>
                  <a:gd name="connsiteY97" fmla="*/ 1072988 h 6023235"/>
                  <a:gd name="connsiteX98" fmla="*/ 0 w 9239919"/>
                  <a:gd name="connsiteY98" fmla="*/ 0 h 6023235"/>
                  <a:gd name="connsiteX0" fmla="*/ 5817814 w 9239919"/>
                  <a:gd name="connsiteY0" fmla="*/ 2863508 h 5846164"/>
                  <a:gd name="connsiteX1" fmla="*/ 5627415 w 9239919"/>
                  <a:gd name="connsiteY1" fmla="*/ 3053907 h 5846164"/>
                  <a:gd name="connsiteX2" fmla="*/ 5627415 w 9239919"/>
                  <a:gd name="connsiteY2" fmla="*/ 3880139 h 5846164"/>
                  <a:gd name="connsiteX3" fmla="*/ 5728827 w 9239919"/>
                  <a:gd name="connsiteY3" fmla="*/ 3981551 h 5846164"/>
                  <a:gd name="connsiteX4" fmla="*/ 5822268 w 9239919"/>
                  <a:gd name="connsiteY4" fmla="*/ 3919613 h 5846164"/>
                  <a:gd name="connsiteX5" fmla="*/ 5824167 w 9239919"/>
                  <a:gd name="connsiteY5" fmla="*/ 3910210 h 5846164"/>
                  <a:gd name="connsiteX6" fmla="*/ 5823753 w 9239919"/>
                  <a:gd name="connsiteY6" fmla="*/ 3909210 h 5846164"/>
                  <a:gd name="connsiteX7" fmla="*/ 5823753 w 9239919"/>
                  <a:gd name="connsiteY7" fmla="*/ 3191737 h 5846164"/>
                  <a:gd name="connsiteX8" fmla="*/ 5864316 w 9239919"/>
                  <a:gd name="connsiteY8" fmla="*/ 3151173 h 5846164"/>
                  <a:gd name="connsiteX9" fmla="*/ 5893000 w 9239919"/>
                  <a:gd name="connsiteY9" fmla="*/ 3163055 h 5846164"/>
                  <a:gd name="connsiteX10" fmla="*/ 5898394 w 9239919"/>
                  <a:gd name="connsiteY10" fmla="*/ 3176078 h 5846164"/>
                  <a:gd name="connsiteX11" fmla="*/ 5898394 w 9239919"/>
                  <a:gd name="connsiteY11" fmla="*/ 3676237 h 5846164"/>
                  <a:gd name="connsiteX12" fmla="*/ 5898394 w 9239919"/>
                  <a:gd name="connsiteY12" fmla="*/ 3981551 h 5846164"/>
                  <a:gd name="connsiteX13" fmla="*/ 5898394 w 9239919"/>
                  <a:gd name="connsiteY13" fmla="*/ 5009771 h 5846164"/>
                  <a:gd name="connsiteX14" fmla="*/ 6030229 w 9239919"/>
                  <a:gd name="connsiteY14" fmla="*/ 5141606 h 5846164"/>
                  <a:gd name="connsiteX15" fmla="*/ 6162063 w 9239919"/>
                  <a:gd name="connsiteY15" fmla="*/ 5009771 h 5846164"/>
                  <a:gd name="connsiteX16" fmla="*/ 6162063 w 9239919"/>
                  <a:gd name="connsiteY16" fmla="*/ 3981551 h 5846164"/>
                  <a:gd name="connsiteX17" fmla="*/ 6230221 w 9239919"/>
                  <a:gd name="connsiteY17" fmla="*/ 3981551 h 5846164"/>
                  <a:gd name="connsiteX18" fmla="*/ 6230221 w 9239919"/>
                  <a:gd name="connsiteY18" fmla="*/ 5009771 h 5846164"/>
                  <a:gd name="connsiteX19" fmla="*/ 6362055 w 9239919"/>
                  <a:gd name="connsiteY19" fmla="*/ 5141606 h 5846164"/>
                  <a:gd name="connsiteX20" fmla="*/ 6493890 w 9239919"/>
                  <a:gd name="connsiteY20" fmla="*/ 5009771 h 5846164"/>
                  <a:gd name="connsiteX21" fmla="*/ 6493890 w 9239919"/>
                  <a:gd name="connsiteY21" fmla="*/ 3981551 h 5846164"/>
                  <a:gd name="connsiteX22" fmla="*/ 6493890 w 9239919"/>
                  <a:gd name="connsiteY22" fmla="*/ 3676237 h 5846164"/>
                  <a:gd name="connsiteX23" fmla="*/ 6493890 w 9239919"/>
                  <a:gd name="connsiteY23" fmla="*/ 3176080 h 5846164"/>
                  <a:gd name="connsiteX24" fmla="*/ 6499286 w 9239919"/>
                  <a:gd name="connsiteY24" fmla="*/ 3163055 h 5846164"/>
                  <a:gd name="connsiteX25" fmla="*/ 6527968 w 9239919"/>
                  <a:gd name="connsiteY25" fmla="*/ 3151173 h 5846164"/>
                  <a:gd name="connsiteX26" fmla="*/ 6568533 w 9239919"/>
                  <a:gd name="connsiteY26" fmla="*/ 3191737 h 5846164"/>
                  <a:gd name="connsiteX27" fmla="*/ 6568533 w 9239919"/>
                  <a:gd name="connsiteY27" fmla="*/ 3909210 h 5846164"/>
                  <a:gd name="connsiteX28" fmla="*/ 6568118 w 9239919"/>
                  <a:gd name="connsiteY28" fmla="*/ 3910210 h 5846164"/>
                  <a:gd name="connsiteX29" fmla="*/ 6570017 w 9239919"/>
                  <a:gd name="connsiteY29" fmla="*/ 3919613 h 5846164"/>
                  <a:gd name="connsiteX30" fmla="*/ 6663459 w 9239919"/>
                  <a:gd name="connsiteY30" fmla="*/ 3981551 h 5846164"/>
                  <a:gd name="connsiteX31" fmla="*/ 6764869 w 9239919"/>
                  <a:gd name="connsiteY31" fmla="*/ 3880139 h 5846164"/>
                  <a:gd name="connsiteX32" fmla="*/ 6764869 w 9239919"/>
                  <a:gd name="connsiteY32" fmla="*/ 3053907 h 5846164"/>
                  <a:gd name="connsiteX33" fmla="*/ 6574470 w 9239919"/>
                  <a:gd name="connsiteY33" fmla="*/ 2863508 h 5846164"/>
                  <a:gd name="connsiteX34" fmla="*/ 6562047 w 9239919"/>
                  <a:gd name="connsiteY34" fmla="*/ 2863508 h 5846164"/>
                  <a:gd name="connsiteX35" fmla="*/ 6493890 w 9239919"/>
                  <a:gd name="connsiteY35" fmla="*/ 2863508 h 5846164"/>
                  <a:gd name="connsiteX36" fmla="*/ 5898394 w 9239919"/>
                  <a:gd name="connsiteY36" fmla="*/ 2863508 h 5846164"/>
                  <a:gd name="connsiteX37" fmla="*/ 5830238 w 9239919"/>
                  <a:gd name="connsiteY37" fmla="*/ 2863508 h 5846164"/>
                  <a:gd name="connsiteX38" fmla="*/ 5817814 w 9239919"/>
                  <a:gd name="connsiteY38" fmla="*/ 2863508 h 5846164"/>
                  <a:gd name="connsiteX39" fmla="*/ 7527453 w 9239919"/>
                  <a:gd name="connsiteY39" fmla="*/ 2850132 h 5846164"/>
                  <a:gd name="connsiteX40" fmla="*/ 7470442 w 9239919"/>
                  <a:gd name="connsiteY40" fmla="*/ 2861643 h 5846164"/>
                  <a:gd name="connsiteX41" fmla="*/ 7392492 w 9239919"/>
                  <a:gd name="connsiteY41" fmla="*/ 2939594 h 5846164"/>
                  <a:gd name="connsiteX42" fmla="*/ 7371220 w 9239919"/>
                  <a:gd name="connsiteY42" fmla="*/ 2995472 h 5846164"/>
                  <a:gd name="connsiteX43" fmla="*/ 7161231 w 9239919"/>
                  <a:gd name="connsiteY43" fmla="*/ 3794573 h 5846164"/>
                  <a:gd name="connsiteX44" fmla="*/ 7233539 w 9239919"/>
                  <a:gd name="connsiteY44" fmla="*/ 3918428 h 5846164"/>
                  <a:gd name="connsiteX45" fmla="*/ 7339653 w 9239919"/>
                  <a:gd name="connsiteY45" fmla="*/ 3882272 h 5846164"/>
                  <a:gd name="connsiteX46" fmla="*/ 7343877 w 9239919"/>
                  <a:gd name="connsiteY46" fmla="*/ 3873661 h 5846164"/>
                  <a:gd name="connsiteX47" fmla="*/ 7343731 w 9239919"/>
                  <a:gd name="connsiteY47" fmla="*/ 3872588 h 5846164"/>
                  <a:gd name="connsiteX48" fmla="*/ 7526079 w 9239919"/>
                  <a:gd name="connsiteY48" fmla="*/ 3178675 h 5846164"/>
                  <a:gd name="connsiteX49" fmla="*/ 7527453 w 9239919"/>
                  <a:gd name="connsiteY49" fmla="*/ 3176865 h 5846164"/>
                  <a:gd name="connsiteX50" fmla="*/ 7527453 w 9239919"/>
                  <a:gd name="connsiteY50" fmla="*/ 3425114 h 5846164"/>
                  <a:gd name="connsiteX51" fmla="*/ 7306530 w 9239919"/>
                  <a:gd name="connsiteY51" fmla="*/ 4228793 h 5846164"/>
                  <a:gd name="connsiteX52" fmla="*/ 7527456 w 9239919"/>
                  <a:gd name="connsiteY52" fmla="*/ 4228793 h 5846164"/>
                  <a:gd name="connsiteX53" fmla="*/ 7527456 w 9239919"/>
                  <a:gd name="connsiteY53" fmla="*/ 4996394 h 5846164"/>
                  <a:gd name="connsiteX54" fmla="*/ 7659290 w 9239919"/>
                  <a:gd name="connsiteY54" fmla="*/ 5128229 h 5846164"/>
                  <a:gd name="connsiteX55" fmla="*/ 7791125 w 9239919"/>
                  <a:gd name="connsiteY55" fmla="*/ 4996394 h 5846164"/>
                  <a:gd name="connsiteX56" fmla="*/ 7791125 w 9239919"/>
                  <a:gd name="connsiteY56" fmla="*/ 4228793 h 5846164"/>
                  <a:gd name="connsiteX57" fmla="*/ 7859282 w 9239919"/>
                  <a:gd name="connsiteY57" fmla="*/ 4228793 h 5846164"/>
                  <a:gd name="connsiteX58" fmla="*/ 7859282 w 9239919"/>
                  <a:gd name="connsiteY58" fmla="*/ 4996394 h 5846164"/>
                  <a:gd name="connsiteX59" fmla="*/ 7991116 w 9239919"/>
                  <a:gd name="connsiteY59" fmla="*/ 5128229 h 5846164"/>
                  <a:gd name="connsiteX60" fmla="*/ 8122951 w 9239919"/>
                  <a:gd name="connsiteY60" fmla="*/ 4996394 h 5846164"/>
                  <a:gd name="connsiteX61" fmla="*/ 8122951 w 9239919"/>
                  <a:gd name="connsiteY61" fmla="*/ 4228793 h 5846164"/>
                  <a:gd name="connsiteX62" fmla="*/ 8338904 w 9239919"/>
                  <a:gd name="connsiteY62" fmla="*/ 4228793 h 5846164"/>
                  <a:gd name="connsiteX63" fmla="*/ 8122949 w 9239919"/>
                  <a:gd name="connsiteY63" fmla="*/ 3443189 h 5846164"/>
                  <a:gd name="connsiteX64" fmla="*/ 8122949 w 9239919"/>
                  <a:gd name="connsiteY64" fmla="*/ 3207451 h 5846164"/>
                  <a:gd name="connsiteX65" fmla="*/ 8309530 w 9239919"/>
                  <a:gd name="connsiteY65" fmla="*/ 3866572 h 5846164"/>
                  <a:gd name="connsiteX66" fmla="*/ 8309408 w 9239919"/>
                  <a:gd name="connsiteY66" fmla="*/ 3867645 h 5846164"/>
                  <a:gd name="connsiteX67" fmla="*/ 8313784 w 9239919"/>
                  <a:gd name="connsiteY67" fmla="*/ 3876179 h 5846164"/>
                  <a:gd name="connsiteX68" fmla="*/ 8420002 w 9239919"/>
                  <a:gd name="connsiteY68" fmla="*/ 3910484 h 5846164"/>
                  <a:gd name="connsiteX69" fmla="*/ 8489351 w 9239919"/>
                  <a:gd name="connsiteY69" fmla="*/ 3785456 h 5846164"/>
                  <a:gd name="connsiteX70" fmla="*/ 8243593 w 9239919"/>
                  <a:gd name="connsiteY70" fmla="*/ 2939594 h 5846164"/>
                  <a:gd name="connsiteX71" fmla="*/ 8165643 w 9239919"/>
                  <a:gd name="connsiteY71" fmla="*/ 2861643 h 5846164"/>
                  <a:gd name="connsiteX72" fmla="*/ 8122949 w 9239919"/>
                  <a:gd name="connsiteY72" fmla="*/ 2850132 h 5846164"/>
                  <a:gd name="connsiteX73" fmla="*/ 8108626 w 9239919"/>
                  <a:gd name="connsiteY73" fmla="*/ 2850132 h 5846164"/>
                  <a:gd name="connsiteX74" fmla="*/ 7527456 w 9239919"/>
                  <a:gd name="connsiteY74" fmla="*/ 2850132 h 5846164"/>
                  <a:gd name="connsiteX75" fmla="*/ 7527453 w 9239919"/>
                  <a:gd name="connsiteY75" fmla="*/ 2850132 h 5846164"/>
                  <a:gd name="connsiteX76" fmla="*/ 6185376 w 9239919"/>
                  <a:gd name="connsiteY76" fmla="*/ 2276730 h 5846164"/>
                  <a:gd name="connsiteX77" fmla="*/ 5913686 w 9239919"/>
                  <a:gd name="connsiteY77" fmla="*/ 2548420 h 5846164"/>
                  <a:gd name="connsiteX78" fmla="*/ 6185376 w 9239919"/>
                  <a:gd name="connsiteY78" fmla="*/ 2820110 h 5846164"/>
                  <a:gd name="connsiteX79" fmla="*/ 6457065 w 9239919"/>
                  <a:gd name="connsiteY79" fmla="*/ 2548420 h 5846164"/>
                  <a:gd name="connsiteX80" fmla="*/ 6185376 w 9239919"/>
                  <a:gd name="connsiteY80" fmla="*/ 2276730 h 5846164"/>
                  <a:gd name="connsiteX81" fmla="*/ 7814436 w 9239919"/>
                  <a:gd name="connsiteY81" fmla="*/ 2263353 h 5846164"/>
                  <a:gd name="connsiteX82" fmla="*/ 7542747 w 9239919"/>
                  <a:gd name="connsiteY82" fmla="*/ 2535043 h 5846164"/>
                  <a:gd name="connsiteX83" fmla="*/ 7814436 w 9239919"/>
                  <a:gd name="connsiteY83" fmla="*/ 2806733 h 5846164"/>
                  <a:gd name="connsiteX84" fmla="*/ 8086126 w 9239919"/>
                  <a:gd name="connsiteY84" fmla="*/ 2535043 h 5846164"/>
                  <a:gd name="connsiteX85" fmla="*/ 7814436 w 9239919"/>
                  <a:gd name="connsiteY85" fmla="*/ 2263353 h 5846164"/>
                  <a:gd name="connsiteX86" fmla="*/ 0 w 9239919"/>
                  <a:gd name="connsiteY86" fmla="*/ 0 h 5846164"/>
                  <a:gd name="connsiteX87" fmla="*/ 9185067 w 9239919"/>
                  <a:gd name="connsiteY87" fmla="*/ 22485 h 5846164"/>
                  <a:gd name="connsiteX88" fmla="*/ 9185067 w 9239919"/>
                  <a:gd name="connsiteY88" fmla="*/ 879735 h 5846164"/>
                  <a:gd name="connsiteX89" fmla="*/ 9185067 w 9239919"/>
                  <a:gd name="connsiteY89" fmla="*/ 1072988 h 5846164"/>
                  <a:gd name="connsiteX90" fmla="*/ 9185067 w 9239919"/>
                  <a:gd name="connsiteY90" fmla="*/ 5829982 h 5846164"/>
                  <a:gd name="connsiteX91" fmla="*/ 9205600 w 9239919"/>
                  <a:gd name="connsiteY91" fmla="*/ 5843353 h 5846164"/>
                  <a:gd name="connsiteX92" fmla="*/ 9144000 w 9239919"/>
                  <a:gd name="connsiteY92" fmla="*/ 5846164 h 5846164"/>
                  <a:gd name="connsiteX93" fmla="*/ 9239919 w 9239919"/>
                  <a:gd name="connsiteY93" fmla="*/ 5846164 h 5846164"/>
                  <a:gd name="connsiteX94" fmla="*/ 41067 w 9239919"/>
                  <a:gd name="connsiteY94" fmla="*/ 5829982 h 5846164"/>
                  <a:gd name="connsiteX95" fmla="*/ 41068 w 9239919"/>
                  <a:gd name="connsiteY95" fmla="*/ 5829982 h 5846164"/>
                  <a:gd name="connsiteX96" fmla="*/ 41068 w 9239919"/>
                  <a:gd name="connsiteY96" fmla="*/ 1072988 h 5846164"/>
                  <a:gd name="connsiteX97" fmla="*/ 41067 w 9239919"/>
                  <a:gd name="connsiteY97" fmla="*/ 1072988 h 5846164"/>
                  <a:gd name="connsiteX98" fmla="*/ 0 w 9239919"/>
                  <a:gd name="connsiteY98" fmla="*/ 0 h 5846164"/>
                  <a:gd name="connsiteX0" fmla="*/ 5776746 w 9198851"/>
                  <a:gd name="connsiteY0" fmla="*/ 2849916 h 5832572"/>
                  <a:gd name="connsiteX1" fmla="*/ 5586347 w 9198851"/>
                  <a:gd name="connsiteY1" fmla="*/ 3040315 h 5832572"/>
                  <a:gd name="connsiteX2" fmla="*/ 5586347 w 9198851"/>
                  <a:gd name="connsiteY2" fmla="*/ 3866547 h 5832572"/>
                  <a:gd name="connsiteX3" fmla="*/ 5687759 w 9198851"/>
                  <a:gd name="connsiteY3" fmla="*/ 3967959 h 5832572"/>
                  <a:gd name="connsiteX4" fmla="*/ 5781200 w 9198851"/>
                  <a:gd name="connsiteY4" fmla="*/ 3906021 h 5832572"/>
                  <a:gd name="connsiteX5" fmla="*/ 5783099 w 9198851"/>
                  <a:gd name="connsiteY5" fmla="*/ 3896618 h 5832572"/>
                  <a:gd name="connsiteX6" fmla="*/ 5782685 w 9198851"/>
                  <a:gd name="connsiteY6" fmla="*/ 3895618 h 5832572"/>
                  <a:gd name="connsiteX7" fmla="*/ 5782685 w 9198851"/>
                  <a:gd name="connsiteY7" fmla="*/ 3178145 h 5832572"/>
                  <a:gd name="connsiteX8" fmla="*/ 5823248 w 9198851"/>
                  <a:gd name="connsiteY8" fmla="*/ 3137581 h 5832572"/>
                  <a:gd name="connsiteX9" fmla="*/ 5851932 w 9198851"/>
                  <a:gd name="connsiteY9" fmla="*/ 3149463 h 5832572"/>
                  <a:gd name="connsiteX10" fmla="*/ 5857326 w 9198851"/>
                  <a:gd name="connsiteY10" fmla="*/ 3162486 h 5832572"/>
                  <a:gd name="connsiteX11" fmla="*/ 5857326 w 9198851"/>
                  <a:gd name="connsiteY11" fmla="*/ 3662645 h 5832572"/>
                  <a:gd name="connsiteX12" fmla="*/ 5857326 w 9198851"/>
                  <a:gd name="connsiteY12" fmla="*/ 3967959 h 5832572"/>
                  <a:gd name="connsiteX13" fmla="*/ 5857326 w 9198851"/>
                  <a:gd name="connsiteY13" fmla="*/ 4996179 h 5832572"/>
                  <a:gd name="connsiteX14" fmla="*/ 5989161 w 9198851"/>
                  <a:gd name="connsiteY14" fmla="*/ 5128014 h 5832572"/>
                  <a:gd name="connsiteX15" fmla="*/ 6120995 w 9198851"/>
                  <a:gd name="connsiteY15" fmla="*/ 4996179 h 5832572"/>
                  <a:gd name="connsiteX16" fmla="*/ 6120995 w 9198851"/>
                  <a:gd name="connsiteY16" fmla="*/ 3967959 h 5832572"/>
                  <a:gd name="connsiteX17" fmla="*/ 6189153 w 9198851"/>
                  <a:gd name="connsiteY17" fmla="*/ 3967959 h 5832572"/>
                  <a:gd name="connsiteX18" fmla="*/ 6189153 w 9198851"/>
                  <a:gd name="connsiteY18" fmla="*/ 4996179 h 5832572"/>
                  <a:gd name="connsiteX19" fmla="*/ 6320987 w 9198851"/>
                  <a:gd name="connsiteY19" fmla="*/ 5128014 h 5832572"/>
                  <a:gd name="connsiteX20" fmla="*/ 6452822 w 9198851"/>
                  <a:gd name="connsiteY20" fmla="*/ 4996179 h 5832572"/>
                  <a:gd name="connsiteX21" fmla="*/ 6452822 w 9198851"/>
                  <a:gd name="connsiteY21" fmla="*/ 3967959 h 5832572"/>
                  <a:gd name="connsiteX22" fmla="*/ 6452822 w 9198851"/>
                  <a:gd name="connsiteY22" fmla="*/ 3662645 h 5832572"/>
                  <a:gd name="connsiteX23" fmla="*/ 6452822 w 9198851"/>
                  <a:gd name="connsiteY23" fmla="*/ 3162488 h 5832572"/>
                  <a:gd name="connsiteX24" fmla="*/ 6458218 w 9198851"/>
                  <a:gd name="connsiteY24" fmla="*/ 3149463 h 5832572"/>
                  <a:gd name="connsiteX25" fmla="*/ 6486900 w 9198851"/>
                  <a:gd name="connsiteY25" fmla="*/ 3137581 h 5832572"/>
                  <a:gd name="connsiteX26" fmla="*/ 6527465 w 9198851"/>
                  <a:gd name="connsiteY26" fmla="*/ 3178145 h 5832572"/>
                  <a:gd name="connsiteX27" fmla="*/ 6527465 w 9198851"/>
                  <a:gd name="connsiteY27" fmla="*/ 3895618 h 5832572"/>
                  <a:gd name="connsiteX28" fmla="*/ 6527050 w 9198851"/>
                  <a:gd name="connsiteY28" fmla="*/ 3896618 h 5832572"/>
                  <a:gd name="connsiteX29" fmla="*/ 6528949 w 9198851"/>
                  <a:gd name="connsiteY29" fmla="*/ 3906021 h 5832572"/>
                  <a:gd name="connsiteX30" fmla="*/ 6622391 w 9198851"/>
                  <a:gd name="connsiteY30" fmla="*/ 3967959 h 5832572"/>
                  <a:gd name="connsiteX31" fmla="*/ 6723801 w 9198851"/>
                  <a:gd name="connsiteY31" fmla="*/ 3866547 h 5832572"/>
                  <a:gd name="connsiteX32" fmla="*/ 6723801 w 9198851"/>
                  <a:gd name="connsiteY32" fmla="*/ 3040315 h 5832572"/>
                  <a:gd name="connsiteX33" fmla="*/ 6533402 w 9198851"/>
                  <a:gd name="connsiteY33" fmla="*/ 2849916 h 5832572"/>
                  <a:gd name="connsiteX34" fmla="*/ 6520979 w 9198851"/>
                  <a:gd name="connsiteY34" fmla="*/ 2849916 h 5832572"/>
                  <a:gd name="connsiteX35" fmla="*/ 6452822 w 9198851"/>
                  <a:gd name="connsiteY35" fmla="*/ 2849916 h 5832572"/>
                  <a:gd name="connsiteX36" fmla="*/ 5857326 w 9198851"/>
                  <a:gd name="connsiteY36" fmla="*/ 2849916 h 5832572"/>
                  <a:gd name="connsiteX37" fmla="*/ 5789170 w 9198851"/>
                  <a:gd name="connsiteY37" fmla="*/ 2849916 h 5832572"/>
                  <a:gd name="connsiteX38" fmla="*/ 5776746 w 9198851"/>
                  <a:gd name="connsiteY38" fmla="*/ 2849916 h 5832572"/>
                  <a:gd name="connsiteX39" fmla="*/ 7486385 w 9198851"/>
                  <a:gd name="connsiteY39" fmla="*/ 2836540 h 5832572"/>
                  <a:gd name="connsiteX40" fmla="*/ 7429374 w 9198851"/>
                  <a:gd name="connsiteY40" fmla="*/ 2848051 h 5832572"/>
                  <a:gd name="connsiteX41" fmla="*/ 7351424 w 9198851"/>
                  <a:gd name="connsiteY41" fmla="*/ 2926002 h 5832572"/>
                  <a:gd name="connsiteX42" fmla="*/ 7330152 w 9198851"/>
                  <a:gd name="connsiteY42" fmla="*/ 2981880 h 5832572"/>
                  <a:gd name="connsiteX43" fmla="*/ 7120163 w 9198851"/>
                  <a:gd name="connsiteY43" fmla="*/ 3780981 h 5832572"/>
                  <a:gd name="connsiteX44" fmla="*/ 7192471 w 9198851"/>
                  <a:gd name="connsiteY44" fmla="*/ 3904836 h 5832572"/>
                  <a:gd name="connsiteX45" fmla="*/ 7298585 w 9198851"/>
                  <a:gd name="connsiteY45" fmla="*/ 3868680 h 5832572"/>
                  <a:gd name="connsiteX46" fmla="*/ 7302809 w 9198851"/>
                  <a:gd name="connsiteY46" fmla="*/ 3860069 h 5832572"/>
                  <a:gd name="connsiteX47" fmla="*/ 7302663 w 9198851"/>
                  <a:gd name="connsiteY47" fmla="*/ 3858996 h 5832572"/>
                  <a:gd name="connsiteX48" fmla="*/ 7485011 w 9198851"/>
                  <a:gd name="connsiteY48" fmla="*/ 3165083 h 5832572"/>
                  <a:gd name="connsiteX49" fmla="*/ 7486385 w 9198851"/>
                  <a:gd name="connsiteY49" fmla="*/ 3163273 h 5832572"/>
                  <a:gd name="connsiteX50" fmla="*/ 7486385 w 9198851"/>
                  <a:gd name="connsiteY50" fmla="*/ 3411522 h 5832572"/>
                  <a:gd name="connsiteX51" fmla="*/ 7265462 w 9198851"/>
                  <a:gd name="connsiteY51" fmla="*/ 4215201 h 5832572"/>
                  <a:gd name="connsiteX52" fmla="*/ 7486388 w 9198851"/>
                  <a:gd name="connsiteY52" fmla="*/ 4215201 h 5832572"/>
                  <a:gd name="connsiteX53" fmla="*/ 7486388 w 9198851"/>
                  <a:gd name="connsiteY53" fmla="*/ 4982802 h 5832572"/>
                  <a:gd name="connsiteX54" fmla="*/ 7618222 w 9198851"/>
                  <a:gd name="connsiteY54" fmla="*/ 5114637 h 5832572"/>
                  <a:gd name="connsiteX55" fmla="*/ 7750057 w 9198851"/>
                  <a:gd name="connsiteY55" fmla="*/ 4982802 h 5832572"/>
                  <a:gd name="connsiteX56" fmla="*/ 7750057 w 9198851"/>
                  <a:gd name="connsiteY56" fmla="*/ 4215201 h 5832572"/>
                  <a:gd name="connsiteX57" fmla="*/ 7818214 w 9198851"/>
                  <a:gd name="connsiteY57" fmla="*/ 4215201 h 5832572"/>
                  <a:gd name="connsiteX58" fmla="*/ 7818214 w 9198851"/>
                  <a:gd name="connsiteY58" fmla="*/ 4982802 h 5832572"/>
                  <a:gd name="connsiteX59" fmla="*/ 7950048 w 9198851"/>
                  <a:gd name="connsiteY59" fmla="*/ 5114637 h 5832572"/>
                  <a:gd name="connsiteX60" fmla="*/ 8081883 w 9198851"/>
                  <a:gd name="connsiteY60" fmla="*/ 4982802 h 5832572"/>
                  <a:gd name="connsiteX61" fmla="*/ 8081883 w 9198851"/>
                  <a:gd name="connsiteY61" fmla="*/ 4215201 h 5832572"/>
                  <a:gd name="connsiteX62" fmla="*/ 8297836 w 9198851"/>
                  <a:gd name="connsiteY62" fmla="*/ 4215201 h 5832572"/>
                  <a:gd name="connsiteX63" fmla="*/ 8081881 w 9198851"/>
                  <a:gd name="connsiteY63" fmla="*/ 3429597 h 5832572"/>
                  <a:gd name="connsiteX64" fmla="*/ 8081881 w 9198851"/>
                  <a:gd name="connsiteY64" fmla="*/ 3193859 h 5832572"/>
                  <a:gd name="connsiteX65" fmla="*/ 8268462 w 9198851"/>
                  <a:gd name="connsiteY65" fmla="*/ 3852980 h 5832572"/>
                  <a:gd name="connsiteX66" fmla="*/ 8268340 w 9198851"/>
                  <a:gd name="connsiteY66" fmla="*/ 3854053 h 5832572"/>
                  <a:gd name="connsiteX67" fmla="*/ 8272716 w 9198851"/>
                  <a:gd name="connsiteY67" fmla="*/ 3862587 h 5832572"/>
                  <a:gd name="connsiteX68" fmla="*/ 8378934 w 9198851"/>
                  <a:gd name="connsiteY68" fmla="*/ 3896892 h 5832572"/>
                  <a:gd name="connsiteX69" fmla="*/ 8448283 w 9198851"/>
                  <a:gd name="connsiteY69" fmla="*/ 3771864 h 5832572"/>
                  <a:gd name="connsiteX70" fmla="*/ 8202525 w 9198851"/>
                  <a:gd name="connsiteY70" fmla="*/ 2926002 h 5832572"/>
                  <a:gd name="connsiteX71" fmla="*/ 8124575 w 9198851"/>
                  <a:gd name="connsiteY71" fmla="*/ 2848051 h 5832572"/>
                  <a:gd name="connsiteX72" fmla="*/ 8081881 w 9198851"/>
                  <a:gd name="connsiteY72" fmla="*/ 2836540 h 5832572"/>
                  <a:gd name="connsiteX73" fmla="*/ 8067558 w 9198851"/>
                  <a:gd name="connsiteY73" fmla="*/ 2836540 h 5832572"/>
                  <a:gd name="connsiteX74" fmla="*/ 7486388 w 9198851"/>
                  <a:gd name="connsiteY74" fmla="*/ 2836540 h 5832572"/>
                  <a:gd name="connsiteX75" fmla="*/ 7486385 w 9198851"/>
                  <a:gd name="connsiteY75" fmla="*/ 2836540 h 5832572"/>
                  <a:gd name="connsiteX76" fmla="*/ 6144308 w 9198851"/>
                  <a:gd name="connsiteY76" fmla="*/ 2263138 h 5832572"/>
                  <a:gd name="connsiteX77" fmla="*/ 5872618 w 9198851"/>
                  <a:gd name="connsiteY77" fmla="*/ 2534828 h 5832572"/>
                  <a:gd name="connsiteX78" fmla="*/ 6144308 w 9198851"/>
                  <a:gd name="connsiteY78" fmla="*/ 2806518 h 5832572"/>
                  <a:gd name="connsiteX79" fmla="*/ 6415997 w 9198851"/>
                  <a:gd name="connsiteY79" fmla="*/ 2534828 h 5832572"/>
                  <a:gd name="connsiteX80" fmla="*/ 6144308 w 9198851"/>
                  <a:gd name="connsiteY80" fmla="*/ 2263138 h 5832572"/>
                  <a:gd name="connsiteX81" fmla="*/ 7773368 w 9198851"/>
                  <a:gd name="connsiteY81" fmla="*/ 2249761 h 5832572"/>
                  <a:gd name="connsiteX82" fmla="*/ 7501679 w 9198851"/>
                  <a:gd name="connsiteY82" fmla="*/ 2521451 h 5832572"/>
                  <a:gd name="connsiteX83" fmla="*/ 7773368 w 9198851"/>
                  <a:gd name="connsiteY83" fmla="*/ 2793141 h 5832572"/>
                  <a:gd name="connsiteX84" fmla="*/ 8045058 w 9198851"/>
                  <a:gd name="connsiteY84" fmla="*/ 2521451 h 5832572"/>
                  <a:gd name="connsiteX85" fmla="*/ 7773368 w 9198851"/>
                  <a:gd name="connsiteY85" fmla="*/ 2249761 h 5832572"/>
                  <a:gd name="connsiteX86" fmla="*/ 3950286 w 9198851"/>
                  <a:gd name="connsiteY86" fmla="*/ 0 h 5832572"/>
                  <a:gd name="connsiteX87" fmla="*/ 9143999 w 9198851"/>
                  <a:gd name="connsiteY87" fmla="*/ 8893 h 5832572"/>
                  <a:gd name="connsiteX88" fmla="*/ 9143999 w 9198851"/>
                  <a:gd name="connsiteY88" fmla="*/ 866143 h 5832572"/>
                  <a:gd name="connsiteX89" fmla="*/ 9143999 w 9198851"/>
                  <a:gd name="connsiteY89" fmla="*/ 1059396 h 5832572"/>
                  <a:gd name="connsiteX90" fmla="*/ 9143999 w 9198851"/>
                  <a:gd name="connsiteY90" fmla="*/ 5816390 h 5832572"/>
                  <a:gd name="connsiteX91" fmla="*/ 9164532 w 9198851"/>
                  <a:gd name="connsiteY91" fmla="*/ 5829761 h 5832572"/>
                  <a:gd name="connsiteX92" fmla="*/ 9102932 w 9198851"/>
                  <a:gd name="connsiteY92" fmla="*/ 5832572 h 5832572"/>
                  <a:gd name="connsiteX93" fmla="*/ 9198851 w 9198851"/>
                  <a:gd name="connsiteY93" fmla="*/ 5832572 h 5832572"/>
                  <a:gd name="connsiteX94" fmla="*/ -1 w 9198851"/>
                  <a:gd name="connsiteY94" fmla="*/ 5816390 h 5832572"/>
                  <a:gd name="connsiteX95" fmla="*/ 0 w 9198851"/>
                  <a:gd name="connsiteY95" fmla="*/ 5816390 h 5832572"/>
                  <a:gd name="connsiteX96" fmla="*/ 0 w 9198851"/>
                  <a:gd name="connsiteY96" fmla="*/ 1059396 h 5832572"/>
                  <a:gd name="connsiteX97" fmla="*/ -1 w 9198851"/>
                  <a:gd name="connsiteY97" fmla="*/ 1059396 h 5832572"/>
                  <a:gd name="connsiteX98" fmla="*/ 3950286 w 9198851"/>
                  <a:gd name="connsiteY98" fmla="*/ 0 h 5832572"/>
                  <a:gd name="connsiteX0" fmla="*/ 5776748 w 9198853"/>
                  <a:gd name="connsiteY0" fmla="*/ 2849916 h 5832572"/>
                  <a:gd name="connsiteX1" fmla="*/ 5586349 w 9198853"/>
                  <a:gd name="connsiteY1" fmla="*/ 3040315 h 5832572"/>
                  <a:gd name="connsiteX2" fmla="*/ 5586349 w 9198853"/>
                  <a:gd name="connsiteY2" fmla="*/ 3866547 h 5832572"/>
                  <a:gd name="connsiteX3" fmla="*/ 5687761 w 9198853"/>
                  <a:gd name="connsiteY3" fmla="*/ 3967959 h 5832572"/>
                  <a:gd name="connsiteX4" fmla="*/ 5781202 w 9198853"/>
                  <a:gd name="connsiteY4" fmla="*/ 3906021 h 5832572"/>
                  <a:gd name="connsiteX5" fmla="*/ 5783101 w 9198853"/>
                  <a:gd name="connsiteY5" fmla="*/ 3896618 h 5832572"/>
                  <a:gd name="connsiteX6" fmla="*/ 5782687 w 9198853"/>
                  <a:gd name="connsiteY6" fmla="*/ 3895618 h 5832572"/>
                  <a:gd name="connsiteX7" fmla="*/ 5782687 w 9198853"/>
                  <a:gd name="connsiteY7" fmla="*/ 3178145 h 5832572"/>
                  <a:gd name="connsiteX8" fmla="*/ 5823250 w 9198853"/>
                  <a:gd name="connsiteY8" fmla="*/ 3137581 h 5832572"/>
                  <a:gd name="connsiteX9" fmla="*/ 5851934 w 9198853"/>
                  <a:gd name="connsiteY9" fmla="*/ 3149463 h 5832572"/>
                  <a:gd name="connsiteX10" fmla="*/ 5857328 w 9198853"/>
                  <a:gd name="connsiteY10" fmla="*/ 3162486 h 5832572"/>
                  <a:gd name="connsiteX11" fmla="*/ 5857328 w 9198853"/>
                  <a:gd name="connsiteY11" fmla="*/ 3662645 h 5832572"/>
                  <a:gd name="connsiteX12" fmla="*/ 5857328 w 9198853"/>
                  <a:gd name="connsiteY12" fmla="*/ 3967959 h 5832572"/>
                  <a:gd name="connsiteX13" fmla="*/ 5857328 w 9198853"/>
                  <a:gd name="connsiteY13" fmla="*/ 4996179 h 5832572"/>
                  <a:gd name="connsiteX14" fmla="*/ 5989163 w 9198853"/>
                  <a:gd name="connsiteY14" fmla="*/ 5128014 h 5832572"/>
                  <a:gd name="connsiteX15" fmla="*/ 6120997 w 9198853"/>
                  <a:gd name="connsiteY15" fmla="*/ 4996179 h 5832572"/>
                  <a:gd name="connsiteX16" fmla="*/ 6120997 w 9198853"/>
                  <a:gd name="connsiteY16" fmla="*/ 3967959 h 5832572"/>
                  <a:gd name="connsiteX17" fmla="*/ 6189155 w 9198853"/>
                  <a:gd name="connsiteY17" fmla="*/ 3967959 h 5832572"/>
                  <a:gd name="connsiteX18" fmla="*/ 6189155 w 9198853"/>
                  <a:gd name="connsiteY18" fmla="*/ 4996179 h 5832572"/>
                  <a:gd name="connsiteX19" fmla="*/ 6320989 w 9198853"/>
                  <a:gd name="connsiteY19" fmla="*/ 5128014 h 5832572"/>
                  <a:gd name="connsiteX20" fmla="*/ 6452824 w 9198853"/>
                  <a:gd name="connsiteY20" fmla="*/ 4996179 h 5832572"/>
                  <a:gd name="connsiteX21" fmla="*/ 6452824 w 9198853"/>
                  <a:gd name="connsiteY21" fmla="*/ 3967959 h 5832572"/>
                  <a:gd name="connsiteX22" fmla="*/ 6452824 w 9198853"/>
                  <a:gd name="connsiteY22" fmla="*/ 3662645 h 5832572"/>
                  <a:gd name="connsiteX23" fmla="*/ 6452824 w 9198853"/>
                  <a:gd name="connsiteY23" fmla="*/ 3162488 h 5832572"/>
                  <a:gd name="connsiteX24" fmla="*/ 6458220 w 9198853"/>
                  <a:gd name="connsiteY24" fmla="*/ 3149463 h 5832572"/>
                  <a:gd name="connsiteX25" fmla="*/ 6486902 w 9198853"/>
                  <a:gd name="connsiteY25" fmla="*/ 3137581 h 5832572"/>
                  <a:gd name="connsiteX26" fmla="*/ 6527467 w 9198853"/>
                  <a:gd name="connsiteY26" fmla="*/ 3178145 h 5832572"/>
                  <a:gd name="connsiteX27" fmla="*/ 6527467 w 9198853"/>
                  <a:gd name="connsiteY27" fmla="*/ 3895618 h 5832572"/>
                  <a:gd name="connsiteX28" fmla="*/ 6527052 w 9198853"/>
                  <a:gd name="connsiteY28" fmla="*/ 3896618 h 5832572"/>
                  <a:gd name="connsiteX29" fmla="*/ 6528951 w 9198853"/>
                  <a:gd name="connsiteY29" fmla="*/ 3906021 h 5832572"/>
                  <a:gd name="connsiteX30" fmla="*/ 6622393 w 9198853"/>
                  <a:gd name="connsiteY30" fmla="*/ 3967959 h 5832572"/>
                  <a:gd name="connsiteX31" fmla="*/ 6723803 w 9198853"/>
                  <a:gd name="connsiteY31" fmla="*/ 3866547 h 5832572"/>
                  <a:gd name="connsiteX32" fmla="*/ 6723803 w 9198853"/>
                  <a:gd name="connsiteY32" fmla="*/ 3040315 h 5832572"/>
                  <a:gd name="connsiteX33" fmla="*/ 6533404 w 9198853"/>
                  <a:gd name="connsiteY33" fmla="*/ 2849916 h 5832572"/>
                  <a:gd name="connsiteX34" fmla="*/ 6520981 w 9198853"/>
                  <a:gd name="connsiteY34" fmla="*/ 2849916 h 5832572"/>
                  <a:gd name="connsiteX35" fmla="*/ 6452824 w 9198853"/>
                  <a:gd name="connsiteY35" fmla="*/ 2849916 h 5832572"/>
                  <a:gd name="connsiteX36" fmla="*/ 5857328 w 9198853"/>
                  <a:gd name="connsiteY36" fmla="*/ 2849916 h 5832572"/>
                  <a:gd name="connsiteX37" fmla="*/ 5789172 w 9198853"/>
                  <a:gd name="connsiteY37" fmla="*/ 2849916 h 5832572"/>
                  <a:gd name="connsiteX38" fmla="*/ 5776748 w 9198853"/>
                  <a:gd name="connsiteY38" fmla="*/ 2849916 h 5832572"/>
                  <a:gd name="connsiteX39" fmla="*/ 7486387 w 9198853"/>
                  <a:gd name="connsiteY39" fmla="*/ 2836540 h 5832572"/>
                  <a:gd name="connsiteX40" fmla="*/ 7429376 w 9198853"/>
                  <a:gd name="connsiteY40" fmla="*/ 2848051 h 5832572"/>
                  <a:gd name="connsiteX41" fmla="*/ 7351426 w 9198853"/>
                  <a:gd name="connsiteY41" fmla="*/ 2926002 h 5832572"/>
                  <a:gd name="connsiteX42" fmla="*/ 7330154 w 9198853"/>
                  <a:gd name="connsiteY42" fmla="*/ 2981880 h 5832572"/>
                  <a:gd name="connsiteX43" fmla="*/ 7120165 w 9198853"/>
                  <a:gd name="connsiteY43" fmla="*/ 3780981 h 5832572"/>
                  <a:gd name="connsiteX44" fmla="*/ 7192473 w 9198853"/>
                  <a:gd name="connsiteY44" fmla="*/ 3904836 h 5832572"/>
                  <a:gd name="connsiteX45" fmla="*/ 7298587 w 9198853"/>
                  <a:gd name="connsiteY45" fmla="*/ 3868680 h 5832572"/>
                  <a:gd name="connsiteX46" fmla="*/ 7302811 w 9198853"/>
                  <a:gd name="connsiteY46" fmla="*/ 3860069 h 5832572"/>
                  <a:gd name="connsiteX47" fmla="*/ 7302665 w 9198853"/>
                  <a:gd name="connsiteY47" fmla="*/ 3858996 h 5832572"/>
                  <a:gd name="connsiteX48" fmla="*/ 7485013 w 9198853"/>
                  <a:gd name="connsiteY48" fmla="*/ 3165083 h 5832572"/>
                  <a:gd name="connsiteX49" fmla="*/ 7486387 w 9198853"/>
                  <a:gd name="connsiteY49" fmla="*/ 3163273 h 5832572"/>
                  <a:gd name="connsiteX50" fmla="*/ 7486387 w 9198853"/>
                  <a:gd name="connsiteY50" fmla="*/ 3411522 h 5832572"/>
                  <a:gd name="connsiteX51" fmla="*/ 7265464 w 9198853"/>
                  <a:gd name="connsiteY51" fmla="*/ 4215201 h 5832572"/>
                  <a:gd name="connsiteX52" fmla="*/ 7486390 w 9198853"/>
                  <a:gd name="connsiteY52" fmla="*/ 4215201 h 5832572"/>
                  <a:gd name="connsiteX53" fmla="*/ 7486390 w 9198853"/>
                  <a:gd name="connsiteY53" fmla="*/ 4982802 h 5832572"/>
                  <a:gd name="connsiteX54" fmla="*/ 7618224 w 9198853"/>
                  <a:gd name="connsiteY54" fmla="*/ 5114637 h 5832572"/>
                  <a:gd name="connsiteX55" fmla="*/ 7750059 w 9198853"/>
                  <a:gd name="connsiteY55" fmla="*/ 4982802 h 5832572"/>
                  <a:gd name="connsiteX56" fmla="*/ 7750059 w 9198853"/>
                  <a:gd name="connsiteY56" fmla="*/ 4215201 h 5832572"/>
                  <a:gd name="connsiteX57" fmla="*/ 7818216 w 9198853"/>
                  <a:gd name="connsiteY57" fmla="*/ 4215201 h 5832572"/>
                  <a:gd name="connsiteX58" fmla="*/ 7818216 w 9198853"/>
                  <a:gd name="connsiteY58" fmla="*/ 4982802 h 5832572"/>
                  <a:gd name="connsiteX59" fmla="*/ 7950050 w 9198853"/>
                  <a:gd name="connsiteY59" fmla="*/ 5114637 h 5832572"/>
                  <a:gd name="connsiteX60" fmla="*/ 8081885 w 9198853"/>
                  <a:gd name="connsiteY60" fmla="*/ 4982802 h 5832572"/>
                  <a:gd name="connsiteX61" fmla="*/ 8081885 w 9198853"/>
                  <a:gd name="connsiteY61" fmla="*/ 4215201 h 5832572"/>
                  <a:gd name="connsiteX62" fmla="*/ 8297838 w 9198853"/>
                  <a:gd name="connsiteY62" fmla="*/ 4215201 h 5832572"/>
                  <a:gd name="connsiteX63" fmla="*/ 8081883 w 9198853"/>
                  <a:gd name="connsiteY63" fmla="*/ 3429597 h 5832572"/>
                  <a:gd name="connsiteX64" fmla="*/ 8081883 w 9198853"/>
                  <a:gd name="connsiteY64" fmla="*/ 3193859 h 5832572"/>
                  <a:gd name="connsiteX65" fmla="*/ 8268464 w 9198853"/>
                  <a:gd name="connsiteY65" fmla="*/ 3852980 h 5832572"/>
                  <a:gd name="connsiteX66" fmla="*/ 8268342 w 9198853"/>
                  <a:gd name="connsiteY66" fmla="*/ 3854053 h 5832572"/>
                  <a:gd name="connsiteX67" fmla="*/ 8272718 w 9198853"/>
                  <a:gd name="connsiteY67" fmla="*/ 3862587 h 5832572"/>
                  <a:gd name="connsiteX68" fmla="*/ 8378936 w 9198853"/>
                  <a:gd name="connsiteY68" fmla="*/ 3896892 h 5832572"/>
                  <a:gd name="connsiteX69" fmla="*/ 8448285 w 9198853"/>
                  <a:gd name="connsiteY69" fmla="*/ 3771864 h 5832572"/>
                  <a:gd name="connsiteX70" fmla="*/ 8202527 w 9198853"/>
                  <a:gd name="connsiteY70" fmla="*/ 2926002 h 5832572"/>
                  <a:gd name="connsiteX71" fmla="*/ 8124577 w 9198853"/>
                  <a:gd name="connsiteY71" fmla="*/ 2848051 h 5832572"/>
                  <a:gd name="connsiteX72" fmla="*/ 8081883 w 9198853"/>
                  <a:gd name="connsiteY72" fmla="*/ 2836540 h 5832572"/>
                  <a:gd name="connsiteX73" fmla="*/ 8067560 w 9198853"/>
                  <a:gd name="connsiteY73" fmla="*/ 2836540 h 5832572"/>
                  <a:gd name="connsiteX74" fmla="*/ 7486390 w 9198853"/>
                  <a:gd name="connsiteY74" fmla="*/ 2836540 h 5832572"/>
                  <a:gd name="connsiteX75" fmla="*/ 7486387 w 9198853"/>
                  <a:gd name="connsiteY75" fmla="*/ 2836540 h 5832572"/>
                  <a:gd name="connsiteX76" fmla="*/ 6144310 w 9198853"/>
                  <a:gd name="connsiteY76" fmla="*/ 2263138 h 5832572"/>
                  <a:gd name="connsiteX77" fmla="*/ 5872620 w 9198853"/>
                  <a:gd name="connsiteY77" fmla="*/ 2534828 h 5832572"/>
                  <a:gd name="connsiteX78" fmla="*/ 6144310 w 9198853"/>
                  <a:gd name="connsiteY78" fmla="*/ 2806518 h 5832572"/>
                  <a:gd name="connsiteX79" fmla="*/ 6415999 w 9198853"/>
                  <a:gd name="connsiteY79" fmla="*/ 2534828 h 5832572"/>
                  <a:gd name="connsiteX80" fmla="*/ 6144310 w 9198853"/>
                  <a:gd name="connsiteY80" fmla="*/ 2263138 h 5832572"/>
                  <a:gd name="connsiteX81" fmla="*/ 7773370 w 9198853"/>
                  <a:gd name="connsiteY81" fmla="*/ 2249761 h 5832572"/>
                  <a:gd name="connsiteX82" fmla="*/ 7501681 w 9198853"/>
                  <a:gd name="connsiteY82" fmla="*/ 2521451 h 5832572"/>
                  <a:gd name="connsiteX83" fmla="*/ 7773370 w 9198853"/>
                  <a:gd name="connsiteY83" fmla="*/ 2793141 h 5832572"/>
                  <a:gd name="connsiteX84" fmla="*/ 8045060 w 9198853"/>
                  <a:gd name="connsiteY84" fmla="*/ 2521451 h 5832572"/>
                  <a:gd name="connsiteX85" fmla="*/ 7773370 w 9198853"/>
                  <a:gd name="connsiteY85" fmla="*/ 2249761 h 5832572"/>
                  <a:gd name="connsiteX86" fmla="*/ 3950288 w 9198853"/>
                  <a:gd name="connsiteY86" fmla="*/ 0 h 5832572"/>
                  <a:gd name="connsiteX87" fmla="*/ 9144001 w 9198853"/>
                  <a:gd name="connsiteY87" fmla="*/ 8893 h 5832572"/>
                  <a:gd name="connsiteX88" fmla="*/ 9144001 w 9198853"/>
                  <a:gd name="connsiteY88" fmla="*/ 866143 h 5832572"/>
                  <a:gd name="connsiteX89" fmla="*/ 9144001 w 9198853"/>
                  <a:gd name="connsiteY89" fmla="*/ 1059396 h 5832572"/>
                  <a:gd name="connsiteX90" fmla="*/ 9144001 w 9198853"/>
                  <a:gd name="connsiteY90" fmla="*/ 5816390 h 5832572"/>
                  <a:gd name="connsiteX91" fmla="*/ 9164534 w 9198853"/>
                  <a:gd name="connsiteY91" fmla="*/ 5829761 h 5832572"/>
                  <a:gd name="connsiteX92" fmla="*/ 9102934 w 9198853"/>
                  <a:gd name="connsiteY92" fmla="*/ 5832572 h 5832572"/>
                  <a:gd name="connsiteX93" fmla="*/ 9198853 w 9198853"/>
                  <a:gd name="connsiteY93" fmla="*/ 5832572 h 5832572"/>
                  <a:gd name="connsiteX94" fmla="*/ 1 w 9198853"/>
                  <a:gd name="connsiteY94" fmla="*/ 5816390 h 5832572"/>
                  <a:gd name="connsiteX95" fmla="*/ 2 w 9198853"/>
                  <a:gd name="connsiteY95" fmla="*/ 5816390 h 5832572"/>
                  <a:gd name="connsiteX96" fmla="*/ 2 w 9198853"/>
                  <a:gd name="connsiteY96" fmla="*/ 1059396 h 5832572"/>
                  <a:gd name="connsiteX97" fmla="*/ 4079770 w 9198853"/>
                  <a:gd name="connsiteY97" fmla="*/ 5517513 h 5832572"/>
                  <a:gd name="connsiteX98" fmla="*/ 3950288 w 9198853"/>
                  <a:gd name="connsiteY98" fmla="*/ 0 h 5832572"/>
                  <a:gd name="connsiteX0" fmla="*/ 5776746 w 9198851"/>
                  <a:gd name="connsiteY0" fmla="*/ 2849916 h 5832572"/>
                  <a:gd name="connsiteX1" fmla="*/ 5586347 w 9198851"/>
                  <a:gd name="connsiteY1" fmla="*/ 3040315 h 5832572"/>
                  <a:gd name="connsiteX2" fmla="*/ 5586347 w 9198851"/>
                  <a:gd name="connsiteY2" fmla="*/ 3866547 h 5832572"/>
                  <a:gd name="connsiteX3" fmla="*/ 5687759 w 9198851"/>
                  <a:gd name="connsiteY3" fmla="*/ 3967959 h 5832572"/>
                  <a:gd name="connsiteX4" fmla="*/ 5781200 w 9198851"/>
                  <a:gd name="connsiteY4" fmla="*/ 3906021 h 5832572"/>
                  <a:gd name="connsiteX5" fmla="*/ 5783099 w 9198851"/>
                  <a:gd name="connsiteY5" fmla="*/ 3896618 h 5832572"/>
                  <a:gd name="connsiteX6" fmla="*/ 5782685 w 9198851"/>
                  <a:gd name="connsiteY6" fmla="*/ 3895618 h 5832572"/>
                  <a:gd name="connsiteX7" fmla="*/ 5782685 w 9198851"/>
                  <a:gd name="connsiteY7" fmla="*/ 3178145 h 5832572"/>
                  <a:gd name="connsiteX8" fmla="*/ 5823248 w 9198851"/>
                  <a:gd name="connsiteY8" fmla="*/ 3137581 h 5832572"/>
                  <a:gd name="connsiteX9" fmla="*/ 5851932 w 9198851"/>
                  <a:gd name="connsiteY9" fmla="*/ 3149463 h 5832572"/>
                  <a:gd name="connsiteX10" fmla="*/ 5857326 w 9198851"/>
                  <a:gd name="connsiteY10" fmla="*/ 3162486 h 5832572"/>
                  <a:gd name="connsiteX11" fmla="*/ 5857326 w 9198851"/>
                  <a:gd name="connsiteY11" fmla="*/ 3662645 h 5832572"/>
                  <a:gd name="connsiteX12" fmla="*/ 5857326 w 9198851"/>
                  <a:gd name="connsiteY12" fmla="*/ 3967959 h 5832572"/>
                  <a:gd name="connsiteX13" fmla="*/ 5857326 w 9198851"/>
                  <a:gd name="connsiteY13" fmla="*/ 4996179 h 5832572"/>
                  <a:gd name="connsiteX14" fmla="*/ 5989161 w 9198851"/>
                  <a:gd name="connsiteY14" fmla="*/ 5128014 h 5832572"/>
                  <a:gd name="connsiteX15" fmla="*/ 6120995 w 9198851"/>
                  <a:gd name="connsiteY15" fmla="*/ 4996179 h 5832572"/>
                  <a:gd name="connsiteX16" fmla="*/ 6120995 w 9198851"/>
                  <a:gd name="connsiteY16" fmla="*/ 3967959 h 5832572"/>
                  <a:gd name="connsiteX17" fmla="*/ 6189153 w 9198851"/>
                  <a:gd name="connsiteY17" fmla="*/ 3967959 h 5832572"/>
                  <a:gd name="connsiteX18" fmla="*/ 6189153 w 9198851"/>
                  <a:gd name="connsiteY18" fmla="*/ 4996179 h 5832572"/>
                  <a:gd name="connsiteX19" fmla="*/ 6320987 w 9198851"/>
                  <a:gd name="connsiteY19" fmla="*/ 5128014 h 5832572"/>
                  <a:gd name="connsiteX20" fmla="*/ 6452822 w 9198851"/>
                  <a:gd name="connsiteY20" fmla="*/ 4996179 h 5832572"/>
                  <a:gd name="connsiteX21" fmla="*/ 6452822 w 9198851"/>
                  <a:gd name="connsiteY21" fmla="*/ 3967959 h 5832572"/>
                  <a:gd name="connsiteX22" fmla="*/ 6452822 w 9198851"/>
                  <a:gd name="connsiteY22" fmla="*/ 3662645 h 5832572"/>
                  <a:gd name="connsiteX23" fmla="*/ 6452822 w 9198851"/>
                  <a:gd name="connsiteY23" fmla="*/ 3162488 h 5832572"/>
                  <a:gd name="connsiteX24" fmla="*/ 6458218 w 9198851"/>
                  <a:gd name="connsiteY24" fmla="*/ 3149463 h 5832572"/>
                  <a:gd name="connsiteX25" fmla="*/ 6486900 w 9198851"/>
                  <a:gd name="connsiteY25" fmla="*/ 3137581 h 5832572"/>
                  <a:gd name="connsiteX26" fmla="*/ 6527465 w 9198851"/>
                  <a:gd name="connsiteY26" fmla="*/ 3178145 h 5832572"/>
                  <a:gd name="connsiteX27" fmla="*/ 6527465 w 9198851"/>
                  <a:gd name="connsiteY27" fmla="*/ 3895618 h 5832572"/>
                  <a:gd name="connsiteX28" fmla="*/ 6527050 w 9198851"/>
                  <a:gd name="connsiteY28" fmla="*/ 3896618 h 5832572"/>
                  <a:gd name="connsiteX29" fmla="*/ 6528949 w 9198851"/>
                  <a:gd name="connsiteY29" fmla="*/ 3906021 h 5832572"/>
                  <a:gd name="connsiteX30" fmla="*/ 6622391 w 9198851"/>
                  <a:gd name="connsiteY30" fmla="*/ 3967959 h 5832572"/>
                  <a:gd name="connsiteX31" fmla="*/ 6723801 w 9198851"/>
                  <a:gd name="connsiteY31" fmla="*/ 3866547 h 5832572"/>
                  <a:gd name="connsiteX32" fmla="*/ 6723801 w 9198851"/>
                  <a:gd name="connsiteY32" fmla="*/ 3040315 h 5832572"/>
                  <a:gd name="connsiteX33" fmla="*/ 6533402 w 9198851"/>
                  <a:gd name="connsiteY33" fmla="*/ 2849916 h 5832572"/>
                  <a:gd name="connsiteX34" fmla="*/ 6520979 w 9198851"/>
                  <a:gd name="connsiteY34" fmla="*/ 2849916 h 5832572"/>
                  <a:gd name="connsiteX35" fmla="*/ 6452822 w 9198851"/>
                  <a:gd name="connsiteY35" fmla="*/ 2849916 h 5832572"/>
                  <a:gd name="connsiteX36" fmla="*/ 5857326 w 9198851"/>
                  <a:gd name="connsiteY36" fmla="*/ 2849916 h 5832572"/>
                  <a:gd name="connsiteX37" fmla="*/ 5789170 w 9198851"/>
                  <a:gd name="connsiteY37" fmla="*/ 2849916 h 5832572"/>
                  <a:gd name="connsiteX38" fmla="*/ 5776746 w 9198851"/>
                  <a:gd name="connsiteY38" fmla="*/ 2849916 h 5832572"/>
                  <a:gd name="connsiteX39" fmla="*/ 7486385 w 9198851"/>
                  <a:gd name="connsiteY39" fmla="*/ 2836540 h 5832572"/>
                  <a:gd name="connsiteX40" fmla="*/ 7429374 w 9198851"/>
                  <a:gd name="connsiteY40" fmla="*/ 2848051 h 5832572"/>
                  <a:gd name="connsiteX41" fmla="*/ 7351424 w 9198851"/>
                  <a:gd name="connsiteY41" fmla="*/ 2926002 h 5832572"/>
                  <a:gd name="connsiteX42" fmla="*/ 7330152 w 9198851"/>
                  <a:gd name="connsiteY42" fmla="*/ 2981880 h 5832572"/>
                  <a:gd name="connsiteX43" fmla="*/ 7120163 w 9198851"/>
                  <a:gd name="connsiteY43" fmla="*/ 3780981 h 5832572"/>
                  <a:gd name="connsiteX44" fmla="*/ 7192471 w 9198851"/>
                  <a:gd name="connsiteY44" fmla="*/ 3904836 h 5832572"/>
                  <a:gd name="connsiteX45" fmla="*/ 7298585 w 9198851"/>
                  <a:gd name="connsiteY45" fmla="*/ 3868680 h 5832572"/>
                  <a:gd name="connsiteX46" fmla="*/ 7302809 w 9198851"/>
                  <a:gd name="connsiteY46" fmla="*/ 3860069 h 5832572"/>
                  <a:gd name="connsiteX47" fmla="*/ 7302663 w 9198851"/>
                  <a:gd name="connsiteY47" fmla="*/ 3858996 h 5832572"/>
                  <a:gd name="connsiteX48" fmla="*/ 7485011 w 9198851"/>
                  <a:gd name="connsiteY48" fmla="*/ 3165083 h 5832572"/>
                  <a:gd name="connsiteX49" fmla="*/ 7486385 w 9198851"/>
                  <a:gd name="connsiteY49" fmla="*/ 3163273 h 5832572"/>
                  <a:gd name="connsiteX50" fmla="*/ 7486385 w 9198851"/>
                  <a:gd name="connsiteY50" fmla="*/ 3411522 h 5832572"/>
                  <a:gd name="connsiteX51" fmla="*/ 7265462 w 9198851"/>
                  <a:gd name="connsiteY51" fmla="*/ 4215201 h 5832572"/>
                  <a:gd name="connsiteX52" fmla="*/ 7486388 w 9198851"/>
                  <a:gd name="connsiteY52" fmla="*/ 4215201 h 5832572"/>
                  <a:gd name="connsiteX53" fmla="*/ 7486388 w 9198851"/>
                  <a:gd name="connsiteY53" fmla="*/ 4982802 h 5832572"/>
                  <a:gd name="connsiteX54" fmla="*/ 7618222 w 9198851"/>
                  <a:gd name="connsiteY54" fmla="*/ 5114637 h 5832572"/>
                  <a:gd name="connsiteX55" fmla="*/ 7750057 w 9198851"/>
                  <a:gd name="connsiteY55" fmla="*/ 4982802 h 5832572"/>
                  <a:gd name="connsiteX56" fmla="*/ 7750057 w 9198851"/>
                  <a:gd name="connsiteY56" fmla="*/ 4215201 h 5832572"/>
                  <a:gd name="connsiteX57" fmla="*/ 7818214 w 9198851"/>
                  <a:gd name="connsiteY57" fmla="*/ 4215201 h 5832572"/>
                  <a:gd name="connsiteX58" fmla="*/ 7818214 w 9198851"/>
                  <a:gd name="connsiteY58" fmla="*/ 4982802 h 5832572"/>
                  <a:gd name="connsiteX59" fmla="*/ 7950048 w 9198851"/>
                  <a:gd name="connsiteY59" fmla="*/ 5114637 h 5832572"/>
                  <a:gd name="connsiteX60" fmla="*/ 8081883 w 9198851"/>
                  <a:gd name="connsiteY60" fmla="*/ 4982802 h 5832572"/>
                  <a:gd name="connsiteX61" fmla="*/ 8081883 w 9198851"/>
                  <a:gd name="connsiteY61" fmla="*/ 4215201 h 5832572"/>
                  <a:gd name="connsiteX62" fmla="*/ 8297836 w 9198851"/>
                  <a:gd name="connsiteY62" fmla="*/ 4215201 h 5832572"/>
                  <a:gd name="connsiteX63" fmla="*/ 8081881 w 9198851"/>
                  <a:gd name="connsiteY63" fmla="*/ 3429597 h 5832572"/>
                  <a:gd name="connsiteX64" fmla="*/ 8081881 w 9198851"/>
                  <a:gd name="connsiteY64" fmla="*/ 3193859 h 5832572"/>
                  <a:gd name="connsiteX65" fmla="*/ 8268462 w 9198851"/>
                  <a:gd name="connsiteY65" fmla="*/ 3852980 h 5832572"/>
                  <a:gd name="connsiteX66" fmla="*/ 8268340 w 9198851"/>
                  <a:gd name="connsiteY66" fmla="*/ 3854053 h 5832572"/>
                  <a:gd name="connsiteX67" fmla="*/ 8272716 w 9198851"/>
                  <a:gd name="connsiteY67" fmla="*/ 3862587 h 5832572"/>
                  <a:gd name="connsiteX68" fmla="*/ 8378934 w 9198851"/>
                  <a:gd name="connsiteY68" fmla="*/ 3896892 h 5832572"/>
                  <a:gd name="connsiteX69" fmla="*/ 8448283 w 9198851"/>
                  <a:gd name="connsiteY69" fmla="*/ 3771864 h 5832572"/>
                  <a:gd name="connsiteX70" fmla="*/ 8202525 w 9198851"/>
                  <a:gd name="connsiteY70" fmla="*/ 2926002 h 5832572"/>
                  <a:gd name="connsiteX71" fmla="*/ 8124575 w 9198851"/>
                  <a:gd name="connsiteY71" fmla="*/ 2848051 h 5832572"/>
                  <a:gd name="connsiteX72" fmla="*/ 8081881 w 9198851"/>
                  <a:gd name="connsiteY72" fmla="*/ 2836540 h 5832572"/>
                  <a:gd name="connsiteX73" fmla="*/ 8067558 w 9198851"/>
                  <a:gd name="connsiteY73" fmla="*/ 2836540 h 5832572"/>
                  <a:gd name="connsiteX74" fmla="*/ 7486388 w 9198851"/>
                  <a:gd name="connsiteY74" fmla="*/ 2836540 h 5832572"/>
                  <a:gd name="connsiteX75" fmla="*/ 7486385 w 9198851"/>
                  <a:gd name="connsiteY75" fmla="*/ 2836540 h 5832572"/>
                  <a:gd name="connsiteX76" fmla="*/ 6144308 w 9198851"/>
                  <a:gd name="connsiteY76" fmla="*/ 2263138 h 5832572"/>
                  <a:gd name="connsiteX77" fmla="*/ 5872618 w 9198851"/>
                  <a:gd name="connsiteY77" fmla="*/ 2534828 h 5832572"/>
                  <a:gd name="connsiteX78" fmla="*/ 6144308 w 9198851"/>
                  <a:gd name="connsiteY78" fmla="*/ 2806518 h 5832572"/>
                  <a:gd name="connsiteX79" fmla="*/ 6415997 w 9198851"/>
                  <a:gd name="connsiteY79" fmla="*/ 2534828 h 5832572"/>
                  <a:gd name="connsiteX80" fmla="*/ 6144308 w 9198851"/>
                  <a:gd name="connsiteY80" fmla="*/ 2263138 h 5832572"/>
                  <a:gd name="connsiteX81" fmla="*/ 7773368 w 9198851"/>
                  <a:gd name="connsiteY81" fmla="*/ 2249761 h 5832572"/>
                  <a:gd name="connsiteX82" fmla="*/ 7501679 w 9198851"/>
                  <a:gd name="connsiteY82" fmla="*/ 2521451 h 5832572"/>
                  <a:gd name="connsiteX83" fmla="*/ 7773368 w 9198851"/>
                  <a:gd name="connsiteY83" fmla="*/ 2793141 h 5832572"/>
                  <a:gd name="connsiteX84" fmla="*/ 8045058 w 9198851"/>
                  <a:gd name="connsiteY84" fmla="*/ 2521451 h 5832572"/>
                  <a:gd name="connsiteX85" fmla="*/ 7773368 w 9198851"/>
                  <a:gd name="connsiteY85" fmla="*/ 2249761 h 5832572"/>
                  <a:gd name="connsiteX86" fmla="*/ 3950286 w 9198851"/>
                  <a:gd name="connsiteY86" fmla="*/ 0 h 5832572"/>
                  <a:gd name="connsiteX87" fmla="*/ 9143999 w 9198851"/>
                  <a:gd name="connsiteY87" fmla="*/ 8893 h 5832572"/>
                  <a:gd name="connsiteX88" fmla="*/ 9143999 w 9198851"/>
                  <a:gd name="connsiteY88" fmla="*/ 866143 h 5832572"/>
                  <a:gd name="connsiteX89" fmla="*/ 9143999 w 9198851"/>
                  <a:gd name="connsiteY89" fmla="*/ 1059396 h 5832572"/>
                  <a:gd name="connsiteX90" fmla="*/ 9143999 w 9198851"/>
                  <a:gd name="connsiteY90" fmla="*/ 5816390 h 5832572"/>
                  <a:gd name="connsiteX91" fmla="*/ 9164532 w 9198851"/>
                  <a:gd name="connsiteY91" fmla="*/ 5829761 h 5832572"/>
                  <a:gd name="connsiteX92" fmla="*/ 9102932 w 9198851"/>
                  <a:gd name="connsiteY92" fmla="*/ 5832572 h 5832572"/>
                  <a:gd name="connsiteX93" fmla="*/ 9198851 w 9198851"/>
                  <a:gd name="connsiteY93" fmla="*/ 5832572 h 5832572"/>
                  <a:gd name="connsiteX94" fmla="*/ -1 w 9198851"/>
                  <a:gd name="connsiteY94" fmla="*/ 5816390 h 5832572"/>
                  <a:gd name="connsiteX95" fmla="*/ 0 w 9198851"/>
                  <a:gd name="connsiteY95" fmla="*/ 5816390 h 5832572"/>
                  <a:gd name="connsiteX96" fmla="*/ 4067139 w 9198851"/>
                  <a:gd name="connsiteY96" fmla="*/ 5558287 h 5832572"/>
                  <a:gd name="connsiteX97" fmla="*/ 4079768 w 9198851"/>
                  <a:gd name="connsiteY97" fmla="*/ 5517513 h 5832572"/>
                  <a:gd name="connsiteX98" fmla="*/ 3950286 w 9198851"/>
                  <a:gd name="connsiteY98" fmla="*/ 0 h 5832572"/>
                  <a:gd name="connsiteX0" fmla="*/ 5776748 w 9198853"/>
                  <a:gd name="connsiteY0" fmla="*/ 2849916 h 5832572"/>
                  <a:gd name="connsiteX1" fmla="*/ 5586349 w 9198853"/>
                  <a:gd name="connsiteY1" fmla="*/ 3040315 h 5832572"/>
                  <a:gd name="connsiteX2" fmla="*/ 5586349 w 9198853"/>
                  <a:gd name="connsiteY2" fmla="*/ 3866547 h 5832572"/>
                  <a:gd name="connsiteX3" fmla="*/ 5687761 w 9198853"/>
                  <a:gd name="connsiteY3" fmla="*/ 3967959 h 5832572"/>
                  <a:gd name="connsiteX4" fmla="*/ 5781202 w 9198853"/>
                  <a:gd name="connsiteY4" fmla="*/ 3906021 h 5832572"/>
                  <a:gd name="connsiteX5" fmla="*/ 5783101 w 9198853"/>
                  <a:gd name="connsiteY5" fmla="*/ 3896618 h 5832572"/>
                  <a:gd name="connsiteX6" fmla="*/ 5782687 w 9198853"/>
                  <a:gd name="connsiteY6" fmla="*/ 3895618 h 5832572"/>
                  <a:gd name="connsiteX7" fmla="*/ 5782687 w 9198853"/>
                  <a:gd name="connsiteY7" fmla="*/ 3178145 h 5832572"/>
                  <a:gd name="connsiteX8" fmla="*/ 5823250 w 9198853"/>
                  <a:gd name="connsiteY8" fmla="*/ 3137581 h 5832572"/>
                  <a:gd name="connsiteX9" fmla="*/ 5851934 w 9198853"/>
                  <a:gd name="connsiteY9" fmla="*/ 3149463 h 5832572"/>
                  <a:gd name="connsiteX10" fmla="*/ 5857328 w 9198853"/>
                  <a:gd name="connsiteY10" fmla="*/ 3162486 h 5832572"/>
                  <a:gd name="connsiteX11" fmla="*/ 5857328 w 9198853"/>
                  <a:gd name="connsiteY11" fmla="*/ 3662645 h 5832572"/>
                  <a:gd name="connsiteX12" fmla="*/ 5857328 w 9198853"/>
                  <a:gd name="connsiteY12" fmla="*/ 3967959 h 5832572"/>
                  <a:gd name="connsiteX13" fmla="*/ 5857328 w 9198853"/>
                  <a:gd name="connsiteY13" fmla="*/ 4996179 h 5832572"/>
                  <a:gd name="connsiteX14" fmla="*/ 5989163 w 9198853"/>
                  <a:gd name="connsiteY14" fmla="*/ 5128014 h 5832572"/>
                  <a:gd name="connsiteX15" fmla="*/ 6120997 w 9198853"/>
                  <a:gd name="connsiteY15" fmla="*/ 4996179 h 5832572"/>
                  <a:gd name="connsiteX16" fmla="*/ 6120997 w 9198853"/>
                  <a:gd name="connsiteY16" fmla="*/ 3967959 h 5832572"/>
                  <a:gd name="connsiteX17" fmla="*/ 6189155 w 9198853"/>
                  <a:gd name="connsiteY17" fmla="*/ 3967959 h 5832572"/>
                  <a:gd name="connsiteX18" fmla="*/ 6189155 w 9198853"/>
                  <a:gd name="connsiteY18" fmla="*/ 4996179 h 5832572"/>
                  <a:gd name="connsiteX19" fmla="*/ 6320989 w 9198853"/>
                  <a:gd name="connsiteY19" fmla="*/ 5128014 h 5832572"/>
                  <a:gd name="connsiteX20" fmla="*/ 6452824 w 9198853"/>
                  <a:gd name="connsiteY20" fmla="*/ 4996179 h 5832572"/>
                  <a:gd name="connsiteX21" fmla="*/ 6452824 w 9198853"/>
                  <a:gd name="connsiteY21" fmla="*/ 3967959 h 5832572"/>
                  <a:gd name="connsiteX22" fmla="*/ 6452824 w 9198853"/>
                  <a:gd name="connsiteY22" fmla="*/ 3662645 h 5832572"/>
                  <a:gd name="connsiteX23" fmla="*/ 6452824 w 9198853"/>
                  <a:gd name="connsiteY23" fmla="*/ 3162488 h 5832572"/>
                  <a:gd name="connsiteX24" fmla="*/ 6458220 w 9198853"/>
                  <a:gd name="connsiteY24" fmla="*/ 3149463 h 5832572"/>
                  <a:gd name="connsiteX25" fmla="*/ 6486902 w 9198853"/>
                  <a:gd name="connsiteY25" fmla="*/ 3137581 h 5832572"/>
                  <a:gd name="connsiteX26" fmla="*/ 6527467 w 9198853"/>
                  <a:gd name="connsiteY26" fmla="*/ 3178145 h 5832572"/>
                  <a:gd name="connsiteX27" fmla="*/ 6527467 w 9198853"/>
                  <a:gd name="connsiteY27" fmla="*/ 3895618 h 5832572"/>
                  <a:gd name="connsiteX28" fmla="*/ 6527052 w 9198853"/>
                  <a:gd name="connsiteY28" fmla="*/ 3896618 h 5832572"/>
                  <a:gd name="connsiteX29" fmla="*/ 6528951 w 9198853"/>
                  <a:gd name="connsiteY29" fmla="*/ 3906021 h 5832572"/>
                  <a:gd name="connsiteX30" fmla="*/ 6622393 w 9198853"/>
                  <a:gd name="connsiteY30" fmla="*/ 3967959 h 5832572"/>
                  <a:gd name="connsiteX31" fmla="*/ 6723803 w 9198853"/>
                  <a:gd name="connsiteY31" fmla="*/ 3866547 h 5832572"/>
                  <a:gd name="connsiteX32" fmla="*/ 6723803 w 9198853"/>
                  <a:gd name="connsiteY32" fmla="*/ 3040315 h 5832572"/>
                  <a:gd name="connsiteX33" fmla="*/ 6533404 w 9198853"/>
                  <a:gd name="connsiteY33" fmla="*/ 2849916 h 5832572"/>
                  <a:gd name="connsiteX34" fmla="*/ 6520981 w 9198853"/>
                  <a:gd name="connsiteY34" fmla="*/ 2849916 h 5832572"/>
                  <a:gd name="connsiteX35" fmla="*/ 6452824 w 9198853"/>
                  <a:gd name="connsiteY35" fmla="*/ 2849916 h 5832572"/>
                  <a:gd name="connsiteX36" fmla="*/ 5857328 w 9198853"/>
                  <a:gd name="connsiteY36" fmla="*/ 2849916 h 5832572"/>
                  <a:gd name="connsiteX37" fmla="*/ 5789172 w 9198853"/>
                  <a:gd name="connsiteY37" fmla="*/ 2849916 h 5832572"/>
                  <a:gd name="connsiteX38" fmla="*/ 5776748 w 9198853"/>
                  <a:gd name="connsiteY38" fmla="*/ 2849916 h 5832572"/>
                  <a:gd name="connsiteX39" fmla="*/ 7486387 w 9198853"/>
                  <a:gd name="connsiteY39" fmla="*/ 2836540 h 5832572"/>
                  <a:gd name="connsiteX40" fmla="*/ 7429376 w 9198853"/>
                  <a:gd name="connsiteY40" fmla="*/ 2848051 h 5832572"/>
                  <a:gd name="connsiteX41" fmla="*/ 7351426 w 9198853"/>
                  <a:gd name="connsiteY41" fmla="*/ 2926002 h 5832572"/>
                  <a:gd name="connsiteX42" fmla="*/ 7330154 w 9198853"/>
                  <a:gd name="connsiteY42" fmla="*/ 2981880 h 5832572"/>
                  <a:gd name="connsiteX43" fmla="*/ 7120165 w 9198853"/>
                  <a:gd name="connsiteY43" fmla="*/ 3780981 h 5832572"/>
                  <a:gd name="connsiteX44" fmla="*/ 7192473 w 9198853"/>
                  <a:gd name="connsiteY44" fmla="*/ 3904836 h 5832572"/>
                  <a:gd name="connsiteX45" fmla="*/ 7298587 w 9198853"/>
                  <a:gd name="connsiteY45" fmla="*/ 3868680 h 5832572"/>
                  <a:gd name="connsiteX46" fmla="*/ 7302811 w 9198853"/>
                  <a:gd name="connsiteY46" fmla="*/ 3860069 h 5832572"/>
                  <a:gd name="connsiteX47" fmla="*/ 7302665 w 9198853"/>
                  <a:gd name="connsiteY47" fmla="*/ 3858996 h 5832572"/>
                  <a:gd name="connsiteX48" fmla="*/ 7485013 w 9198853"/>
                  <a:gd name="connsiteY48" fmla="*/ 3165083 h 5832572"/>
                  <a:gd name="connsiteX49" fmla="*/ 7486387 w 9198853"/>
                  <a:gd name="connsiteY49" fmla="*/ 3163273 h 5832572"/>
                  <a:gd name="connsiteX50" fmla="*/ 7486387 w 9198853"/>
                  <a:gd name="connsiteY50" fmla="*/ 3411522 h 5832572"/>
                  <a:gd name="connsiteX51" fmla="*/ 7265464 w 9198853"/>
                  <a:gd name="connsiteY51" fmla="*/ 4215201 h 5832572"/>
                  <a:gd name="connsiteX52" fmla="*/ 7486390 w 9198853"/>
                  <a:gd name="connsiteY52" fmla="*/ 4215201 h 5832572"/>
                  <a:gd name="connsiteX53" fmla="*/ 7486390 w 9198853"/>
                  <a:gd name="connsiteY53" fmla="*/ 4982802 h 5832572"/>
                  <a:gd name="connsiteX54" fmla="*/ 7618224 w 9198853"/>
                  <a:gd name="connsiteY54" fmla="*/ 5114637 h 5832572"/>
                  <a:gd name="connsiteX55" fmla="*/ 7750059 w 9198853"/>
                  <a:gd name="connsiteY55" fmla="*/ 4982802 h 5832572"/>
                  <a:gd name="connsiteX56" fmla="*/ 7750059 w 9198853"/>
                  <a:gd name="connsiteY56" fmla="*/ 4215201 h 5832572"/>
                  <a:gd name="connsiteX57" fmla="*/ 7818216 w 9198853"/>
                  <a:gd name="connsiteY57" fmla="*/ 4215201 h 5832572"/>
                  <a:gd name="connsiteX58" fmla="*/ 7818216 w 9198853"/>
                  <a:gd name="connsiteY58" fmla="*/ 4982802 h 5832572"/>
                  <a:gd name="connsiteX59" fmla="*/ 7950050 w 9198853"/>
                  <a:gd name="connsiteY59" fmla="*/ 5114637 h 5832572"/>
                  <a:gd name="connsiteX60" fmla="*/ 8081885 w 9198853"/>
                  <a:gd name="connsiteY60" fmla="*/ 4982802 h 5832572"/>
                  <a:gd name="connsiteX61" fmla="*/ 8081885 w 9198853"/>
                  <a:gd name="connsiteY61" fmla="*/ 4215201 h 5832572"/>
                  <a:gd name="connsiteX62" fmla="*/ 8297838 w 9198853"/>
                  <a:gd name="connsiteY62" fmla="*/ 4215201 h 5832572"/>
                  <a:gd name="connsiteX63" fmla="*/ 8081883 w 9198853"/>
                  <a:gd name="connsiteY63" fmla="*/ 3429597 h 5832572"/>
                  <a:gd name="connsiteX64" fmla="*/ 8081883 w 9198853"/>
                  <a:gd name="connsiteY64" fmla="*/ 3193859 h 5832572"/>
                  <a:gd name="connsiteX65" fmla="*/ 8268464 w 9198853"/>
                  <a:gd name="connsiteY65" fmla="*/ 3852980 h 5832572"/>
                  <a:gd name="connsiteX66" fmla="*/ 8268342 w 9198853"/>
                  <a:gd name="connsiteY66" fmla="*/ 3854053 h 5832572"/>
                  <a:gd name="connsiteX67" fmla="*/ 8272718 w 9198853"/>
                  <a:gd name="connsiteY67" fmla="*/ 3862587 h 5832572"/>
                  <a:gd name="connsiteX68" fmla="*/ 8378936 w 9198853"/>
                  <a:gd name="connsiteY68" fmla="*/ 3896892 h 5832572"/>
                  <a:gd name="connsiteX69" fmla="*/ 8448285 w 9198853"/>
                  <a:gd name="connsiteY69" fmla="*/ 3771864 h 5832572"/>
                  <a:gd name="connsiteX70" fmla="*/ 8202527 w 9198853"/>
                  <a:gd name="connsiteY70" fmla="*/ 2926002 h 5832572"/>
                  <a:gd name="connsiteX71" fmla="*/ 8124577 w 9198853"/>
                  <a:gd name="connsiteY71" fmla="*/ 2848051 h 5832572"/>
                  <a:gd name="connsiteX72" fmla="*/ 8081883 w 9198853"/>
                  <a:gd name="connsiteY72" fmla="*/ 2836540 h 5832572"/>
                  <a:gd name="connsiteX73" fmla="*/ 8067560 w 9198853"/>
                  <a:gd name="connsiteY73" fmla="*/ 2836540 h 5832572"/>
                  <a:gd name="connsiteX74" fmla="*/ 7486390 w 9198853"/>
                  <a:gd name="connsiteY74" fmla="*/ 2836540 h 5832572"/>
                  <a:gd name="connsiteX75" fmla="*/ 7486387 w 9198853"/>
                  <a:gd name="connsiteY75" fmla="*/ 2836540 h 5832572"/>
                  <a:gd name="connsiteX76" fmla="*/ 6144310 w 9198853"/>
                  <a:gd name="connsiteY76" fmla="*/ 2263138 h 5832572"/>
                  <a:gd name="connsiteX77" fmla="*/ 5872620 w 9198853"/>
                  <a:gd name="connsiteY77" fmla="*/ 2534828 h 5832572"/>
                  <a:gd name="connsiteX78" fmla="*/ 6144310 w 9198853"/>
                  <a:gd name="connsiteY78" fmla="*/ 2806518 h 5832572"/>
                  <a:gd name="connsiteX79" fmla="*/ 6415999 w 9198853"/>
                  <a:gd name="connsiteY79" fmla="*/ 2534828 h 5832572"/>
                  <a:gd name="connsiteX80" fmla="*/ 6144310 w 9198853"/>
                  <a:gd name="connsiteY80" fmla="*/ 2263138 h 5832572"/>
                  <a:gd name="connsiteX81" fmla="*/ 7773370 w 9198853"/>
                  <a:gd name="connsiteY81" fmla="*/ 2249761 h 5832572"/>
                  <a:gd name="connsiteX82" fmla="*/ 7501681 w 9198853"/>
                  <a:gd name="connsiteY82" fmla="*/ 2521451 h 5832572"/>
                  <a:gd name="connsiteX83" fmla="*/ 7773370 w 9198853"/>
                  <a:gd name="connsiteY83" fmla="*/ 2793141 h 5832572"/>
                  <a:gd name="connsiteX84" fmla="*/ 8045060 w 9198853"/>
                  <a:gd name="connsiteY84" fmla="*/ 2521451 h 5832572"/>
                  <a:gd name="connsiteX85" fmla="*/ 7773370 w 9198853"/>
                  <a:gd name="connsiteY85" fmla="*/ 2249761 h 5832572"/>
                  <a:gd name="connsiteX86" fmla="*/ 3950288 w 9198853"/>
                  <a:gd name="connsiteY86" fmla="*/ 0 h 5832572"/>
                  <a:gd name="connsiteX87" fmla="*/ 9144001 w 9198853"/>
                  <a:gd name="connsiteY87" fmla="*/ 8893 h 5832572"/>
                  <a:gd name="connsiteX88" fmla="*/ 9144001 w 9198853"/>
                  <a:gd name="connsiteY88" fmla="*/ 866143 h 5832572"/>
                  <a:gd name="connsiteX89" fmla="*/ 9144001 w 9198853"/>
                  <a:gd name="connsiteY89" fmla="*/ 1059396 h 5832572"/>
                  <a:gd name="connsiteX90" fmla="*/ 9144001 w 9198853"/>
                  <a:gd name="connsiteY90" fmla="*/ 5816390 h 5832572"/>
                  <a:gd name="connsiteX91" fmla="*/ 9164534 w 9198853"/>
                  <a:gd name="connsiteY91" fmla="*/ 5829761 h 5832572"/>
                  <a:gd name="connsiteX92" fmla="*/ 9102934 w 9198853"/>
                  <a:gd name="connsiteY92" fmla="*/ 5832572 h 5832572"/>
                  <a:gd name="connsiteX93" fmla="*/ 9198853 w 9198853"/>
                  <a:gd name="connsiteY93" fmla="*/ 5832572 h 5832572"/>
                  <a:gd name="connsiteX94" fmla="*/ 1 w 9198853"/>
                  <a:gd name="connsiteY94" fmla="*/ 5816390 h 5832572"/>
                  <a:gd name="connsiteX95" fmla="*/ 4092403 w 9198853"/>
                  <a:gd name="connsiteY95" fmla="*/ 5816391 h 5832572"/>
                  <a:gd name="connsiteX96" fmla="*/ 4067141 w 9198853"/>
                  <a:gd name="connsiteY96" fmla="*/ 5558287 h 5832572"/>
                  <a:gd name="connsiteX97" fmla="*/ 4079770 w 9198853"/>
                  <a:gd name="connsiteY97" fmla="*/ 5517513 h 5832572"/>
                  <a:gd name="connsiteX98" fmla="*/ 3950288 w 9198853"/>
                  <a:gd name="connsiteY98" fmla="*/ 0 h 5832572"/>
                  <a:gd name="connsiteX0" fmla="*/ 1826459 w 5248564"/>
                  <a:gd name="connsiteY0" fmla="*/ 2849916 h 5832572"/>
                  <a:gd name="connsiteX1" fmla="*/ 1636060 w 5248564"/>
                  <a:gd name="connsiteY1" fmla="*/ 3040315 h 5832572"/>
                  <a:gd name="connsiteX2" fmla="*/ 1636060 w 5248564"/>
                  <a:gd name="connsiteY2" fmla="*/ 3866547 h 5832572"/>
                  <a:gd name="connsiteX3" fmla="*/ 1737472 w 5248564"/>
                  <a:gd name="connsiteY3" fmla="*/ 3967959 h 5832572"/>
                  <a:gd name="connsiteX4" fmla="*/ 1830913 w 5248564"/>
                  <a:gd name="connsiteY4" fmla="*/ 3906021 h 5832572"/>
                  <a:gd name="connsiteX5" fmla="*/ 1832812 w 5248564"/>
                  <a:gd name="connsiteY5" fmla="*/ 3896618 h 5832572"/>
                  <a:gd name="connsiteX6" fmla="*/ 1832398 w 5248564"/>
                  <a:gd name="connsiteY6" fmla="*/ 3895618 h 5832572"/>
                  <a:gd name="connsiteX7" fmla="*/ 1832398 w 5248564"/>
                  <a:gd name="connsiteY7" fmla="*/ 3178145 h 5832572"/>
                  <a:gd name="connsiteX8" fmla="*/ 1872961 w 5248564"/>
                  <a:gd name="connsiteY8" fmla="*/ 3137581 h 5832572"/>
                  <a:gd name="connsiteX9" fmla="*/ 1901645 w 5248564"/>
                  <a:gd name="connsiteY9" fmla="*/ 3149463 h 5832572"/>
                  <a:gd name="connsiteX10" fmla="*/ 1907039 w 5248564"/>
                  <a:gd name="connsiteY10" fmla="*/ 3162486 h 5832572"/>
                  <a:gd name="connsiteX11" fmla="*/ 1907039 w 5248564"/>
                  <a:gd name="connsiteY11" fmla="*/ 3662645 h 5832572"/>
                  <a:gd name="connsiteX12" fmla="*/ 1907039 w 5248564"/>
                  <a:gd name="connsiteY12" fmla="*/ 3967959 h 5832572"/>
                  <a:gd name="connsiteX13" fmla="*/ 1907039 w 5248564"/>
                  <a:gd name="connsiteY13" fmla="*/ 4996179 h 5832572"/>
                  <a:gd name="connsiteX14" fmla="*/ 2038874 w 5248564"/>
                  <a:gd name="connsiteY14" fmla="*/ 5128014 h 5832572"/>
                  <a:gd name="connsiteX15" fmla="*/ 2170708 w 5248564"/>
                  <a:gd name="connsiteY15" fmla="*/ 4996179 h 5832572"/>
                  <a:gd name="connsiteX16" fmla="*/ 2170708 w 5248564"/>
                  <a:gd name="connsiteY16" fmla="*/ 3967959 h 5832572"/>
                  <a:gd name="connsiteX17" fmla="*/ 2238866 w 5248564"/>
                  <a:gd name="connsiteY17" fmla="*/ 3967959 h 5832572"/>
                  <a:gd name="connsiteX18" fmla="*/ 2238866 w 5248564"/>
                  <a:gd name="connsiteY18" fmla="*/ 4996179 h 5832572"/>
                  <a:gd name="connsiteX19" fmla="*/ 2370700 w 5248564"/>
                  <a:gd name="connsiteY19" fmla="*/ 5128014 h 5832572"/>
                  <a:gd name="connsiteX20" fmla="*/ 2502535 w 5248564"/>
                  <a:gd name="connsiteY20" fmla="*/ 4996179 h 5832572"/>
                  <a:gd name="connsiteX21" fmla="*/ 2502535 w 5248564"/>
                  <a:gd name="connsiteY21" fmla="*/ 3967959 h 5832572"/>
                  <a:gd name="connsiteX22" fmla="*/ 2502535 w 5248564"/>
                  <a:gd name="connsiteY22" fmla="*/ 3662645 h 5832572"/>
                  <a:gd name="connsiteX23" fmla="*/ 2502535 w 5248564"/>
                  <a:gd name="connsiteY23" fmla="*/ 3162488 h 5832572"/>
                  <a:gd name="connsiteX24" fmla="*/ 2507931 w 5248564"/>
                  <a:gd name="connsiteY24" fmla="*/ 3149463 h 5832572"/>
                  <a:gd name="connsiteX25" fmla="*/ 2536613 w 5248564"/>
                  <a:gd name="connsiteY25" fmla="*/ 3137581 h 5832572"/>
                  <a:gd name="connsiteX26" fmla="*/ 2577178 w 5248564"/>
                  <a:gd name="connsiteY26" fmla="*/ 3178145 h 5832572"/>
                  <a:gd name="connsiteX27" fmla="*/ 2577178 w 5248564"/>
                  <a:gd name="connsiteY27" fmla="*/ 3895618 h 5832572"/>
                  <a:gd name="connsiteX28" fmla="*/ 2576763 w 5248564"/>
                  <a:gd name="connsiteY28" fmla="*/ 3896618 h 5832572"/>
                  <a:gd name="connsiteX29" fmla="*/ 2578662 w 5248564"/>
                  <a:gd name="connsiteY29" fmla="*/ 3906021 h 5832572"/>
                  <a:gd name="connsiteX30" fmla="*/ 2672104 w 5248564"/>
                  <a:gd name="connsiteY30" fmla="*/ 3967959 h 5832572"/>
                  <a:gd name="connsiteX31" fmla="*/ 2773514 w 5248564"/>
                  <a:gd name="connsiteY31" fmla="*/ 3866547 h 5832572"/>
                  <a:gd name="connsiteX32" fmla="*/ 2773514 w 5248564"/>
                  <a:gd name="connsiteY32" fmla="*/ 3040315 h 5832572"/>
                  <a:gd name="connsiteX33" fmla="*/ 2583115 w 5248564"/>
                  <a:gd name="connsiteY33" fmla="*/ 2849916 h 5832572"/>
                  <a:gd name="connsiteX34" fmla="*/ 2570692 w 5248564"/>
                  <a:gd name="connsiteY34" fmla="*/ 2849916 h 5832572"/>
                  <a:gd name="connsiteX35" fmla="*/ 2502535 w 5248564"/>
                  <a:gd name="connsiteY35" fmla="*/ 2849916 h 5832572"/>
                  <a:gd name="connsiteX36" fmla="*/ 1907039 w 5248564"/>
                  <a:gd name="connsiteY36" fmla="*/ 2849916 h 5832572"/>
                  <a:gd name="connsiteX37" fmla="*/ 1838883 w 5248564"/>
                  <a:gd name="connsiteY37" fmla="*/ 2849916 h 5832572"/>
                  <a:gd name="connsiteX38" fmla="*/ 1826459 w 5248564"/>
                  <a:gd name="connsiteY38" fmla="*/ 2849916 h 5832572"/>
                  <a:gd name="connsiteX39" fmla="*/ 3536098 w 5248564"/>
                  <a:gd name="connsiteY39" fmla="*/ 2836540 h 5832572"/>
                  <a:gd name="connsiteX40" fmla="*/ 3479087 w 5248564"/>
                  <a:gd name="connsiteY40" fmla="*/ 2848051 h 5832572"/>
                  <a:gd name="connsiteX41" fmla="*/ 3401137 w 5248564"/>
                  <a:gd name="connsiteY41" fmla="*/ 2926002 h 5832572"/>
                  <a:gd name="connsiteX42" fmla="*/ 3379865 w 5248564"/>
                  <a:gd name="connsiteY42" fmla="*/ 2981880 h 5832572"/>
                  <a:gd name="connsiteX43" fmla="*/ 3169876 w 5248564"/>
                  <a:gd name="connsiteY43" fmla="*/ 3780981 h 5832572"/>
                  <a:gd name="connsiteX44" fmla="*/ 3242184 w 5248564"/>
                  <a:gd name="connsiteY44" fmla="*/ 3904836 h 5832572"/>
                  <a:gd name="connsiteX45" fmla="*/ 3348298 w 5248564"/>
                  <a:gd name="connsiteY45" fmla="*/ 3868680 h 5832572"/>
                  <a:gd name="connsiteX46" fmla="*/ 3352522 w 5248564"/>
                  <a:gd name="connsiteY46" fmla="*/ 3860069 h 5832572"/>
                  <a:gd name="connsiteX47" fmla="*/ 3352376 w 5248564"/>
                  <a:gd name="connsiteY47" fmla="*/ 3858996 h 5832572"/>
                  <a:gd name="connsiteX48" fmla="*/ 3534724 w 5248564"/>
                  <a:gd name="connsiteY48" fmla="*/ 3165083 h 5832572"/>
                  <a:gd name="connsiteX49" fmla="*/ 3536098 w 5248564"/>
                  <a:gd name="connsiteY49" fmla="*/ 3163273 h 5832572"/>
                  <a:gd name="connsiteX50" fmla="*/ 3536098 w 5248564"/>
                  <a:gd name="connsiteY50" fmla="*/ 3411522 h 5832572"/>
                  <a:gd name="connsiteX51" fmla="*/ 3315175 w 5248564"/>
                  <a:gd name="connsiteY51" fmla="*/ 4215201 h 5832572"/>
                  <a:gd name="connsiteX52" fmla="*/ 3536101 w 5248564"/>
                  <a:gd name="connsiteY52" fmla="*/ 4215201 h 5832572"/>
                  <a:gd name="connsiteX53" fmla="*/ 3536101 w 5248564"/>
                  <a:gd name="connsiteY53" fmla="*/ 4982802 h 5832572"/>
                  <a:gd name="connsiteX54" fmla="*/ 3667935 w 5248564"/>
                  <a:gd name="connsiteY54" fmla="*/ 5114637 h 5832572"/>
                  <a:gd name="connsiteX55" fmla="*/ 3799770 w 5248564"/>
                  <a:gd name="connsiteY55" fmla="*/ 4982802 h 5832572"/>
                  <a:gd name="connsiteX56" fmla="*/ 3799770 w 5248564"/>
                  <a:gd name="connsiteY56" fmla="*/ 4215201 h 5832572"/>
                  <a:gd name="connsiteX57" fmla="*/ 3867927 w 5248564"/>
                  <a:gd name="connsiteY57" fmla="*/ 4215201 h 5832572"/>
                  <a:gd name="connsiteX58" fmla="*/ 3867927 w 5248564"/>
                  <a:gd name="connsiteY58" fmla="*/ 4982802 h 5832572"/>
                  <a:gd name="connsiteX59" fmla="*/ 3999761 w 5248564"/>
                  <a:gd name="connsiteY59" fmla="*/ 5114637 h 5832572"/>
                  <a:gd name="connsiteX60" fmla="*/ 4131596 w 5248564"/>
                  <a:gd name="connsiteY60" fmla="*/ 4982802 h 5832572"/>
                  <a:gd name="connsiteX61" fmla="*/ 4131596 w 5248564"/>
                  <a:gd name="connsiteY61" fmla="*/ 4215201 h 5832572"/>
                  <a:gd name="connsiteX62" fmla="*/ 4347549 w 5248564"/>
                  <a:gd name="connsiteY62" fmla="*/ 4215201 h 5832572"/>
                  <a:gd name="connsiteX63" fmla="*/ 4131594 w 5248564"/>
                  <a:gd name="connsiteY63" fmla="*/ 3429597 h 5832572"/>
                  <a:gd name="connsiteX64" fmla="*/ 4131594 w 5248564"/>
                  <a:gd name="connsiteY64" fmla="*/ 3193859 h 5832572"/>
                  <a:gd name="connsiteX65" fmla="*/ 4318175 w 5248564"/>
                  <a:gd name="connsiteY65" fmla="*/ 3852980 h 5832572"/>
                  <a:gd name="connsiteX66" fmla="*/ 4318053 w 5248564"/>
                  <a:gd name="connsiteY66" fmla="*/ 3854053 h 5832572"/>
                  <a:gd name="connsiteX67" fmla="*/ 4322429 w 5248564"/>
                  <a:gd name="connsiteY67" fmla="*/ 3862587 h 5832572"/>
                  <a:gd name="connsiteX68" fmla="*/ 4428647 w 5248564"/>
                  <a:gd name="connsiteY68" fmla="*/ 3896892 h 5832572"/>
                  <a:gd name="connsiteX69" fmla="*/ 4497996 w 5248564"/>
                  <a:gd name="connsiteY69" fmla="*/ 3771864 h 5832572"/>
                  <a:gd name="connsiteX70" fmla="*/ 4252238 w 5248564"/>
                  <a:gd name="connsiteY70" fmla="*/ 2926002 h 5832572"/>
                  <a:gd name="connsiteX71" fmla="*/ 4174288 w 5248564"/>
                  <a:gd name="connsiteY71" fmla="*/ 2848051 h 5832572"/>
                  <a:gd name="connsiteX72" fmla="*/ 4131594 w 5248564"/>
                  <a:gd name="connsiteY72" fmla="*/ 2836540 h 5832572"/>
                  <a:gd name="connsiteX73" fmla="*/ 4117271 w 5248564"/>
                  <a:gd name="connsiteY73" fmla="*/ 2836540 h 5832572"/>
                  <a:gd name="connsiteX74" fmla="*/ 3536101 w 5248564"/>
                  <a:gd name="connsiteY74" fmla="*/ 2836540 h 5832572"/>
                  <a:gd name="connsiteX75" fmla="*/ 3536098 w 5248564"/>
                  <a:gd name="connsiteY75" fmla="*/ 2836540 h 5832572"/>
                  <a:gd name="connsiteX76" fmla="*/ 2194021 w 5248564"/>
                  <a:gd name="connsiteY76" fmla="*/ 2263138 h 5832572"/>
                  <a:gd name="connsiteX77" fmla="*/ 1922331 w 5248564"/>
                  <a:gd name="connsiteY77" fmla="*/ 2534828 h 5832572"/>
                  <a:gd name="connsiteX78" fmla="*/ 2194021 w 5248564"/>
                  <a:gd name="connsiteY78" fmla="*/ 2806518 h 5832572"/>
                  <a:gd name="connsiteX79" fmla="*/ 2465710 w 5248564"/>
                  <a:gd name="connsiteY79" fmla="*/ 2534828 h 5832572"/>
                  <a:gd name="connsiteX80" fmla="*/ 2194021 w 5248564"/>
                  <a:gd name="connsiteY80" fmla="*/ 2263138 h 5832572"/>
                  <a:gd name="connsiteX81" fmla="*/ 3823081 w 5248564"/>
                  <a:gd name="connsiteY81" fmla="*/ 2249761 h 5832572"/>
                  <a:gd name="connsiteX82" fmla="*/ 3551392 w 5248564"/>
                  <a:gd name="connsiteY82" fmla="*/ 2521451 h 5832572"/>
                  <a:gd name="connsiteX83" fmla="*/ 3823081 w 5248564"/>
                  <a:gd name="connsiteY83" fmla="*/ 2793141 h 5832572"/>
                  <a:gd name="connsiteX84" fmla="*/ 4094771 w 5248564"/>
                  <a:gd name="connsiteY84" fmla="*/ 2521451 h 5832572"/>
                  <a:gd name="connsiteX85" fmla="*/ 3823081 w 5248564"/>
                  <a:gd name="connsiteY85" fmla="*/ 2249761 h 5832572"/>
                  <a:gd name="connsiteX86" fmla="*/ -1 w 5248564"/>
                  <a:gd name="connsiteY86" fmla="*/ 0 h 5832572"/>
                  <a:gd name="connsiteX87" fmla="*/ 5193712 w 5248564"/>
                  <a:gd name="connsiteY87" fmla="*/ 8893 h 5832572"/>
                  <a:gd name="connsiteX88" fmla="*/ 5193712 w 5248564"/>
                  <a:gd name="connsiteY88" fmla="*/ 866143 h 5832572"/>
                  <a:gd name="connsiteX89" fmla="*/ 5193712 w 5248564"/>
                  <a:gd name="connsiteY89" fmla="*/ 1059396 h 5832572"/>
                  <a:gd name="connsiteX90" fmla="*/ 5193712 w 5248564"/>
                  <a:gd name="connsiteY90" fmla="*/ 5816390 h 5832572"/>
                  <a:gd name="connsiteX91" fmla="*/ 5214245 w 5248564"/>
                  <a:gd name="connsiteY91" fmla="*/ 5829761 h 5832572"/>
                  <a:gd name="connsiteX92" fmla="*/ 5152645 w 5248564"/>
                  <a:gd name="connsiteY92" fmla="*/ 5832572 h 5832572"/>
                  <a:gd name="connsiteX93" fmla="*/ 5248564 w 5248564"/>
                  <a:gd name="connsiteY93" fmla="*/ 5832572 h 5832572"/>
                  <a:gd name="connsiteX94" fmla="*/ 129483 w 5248564"/>
                  <a:gd name="connsiteY94" fmla="*/ 5816391 h 5832572"/>
                  <a:gd name="connsiteX95" fmla="*/ 142114 w 5248564"/>
                  <a:gd name="connsiteY95" fmla="*/ 5816391 h 5832572"/>
                  <a:gd name="connsiteX96" fmla="*/ 116852 w 5248564"/>
                  <a:gd name="connsiteY96" fmla="*/ 5558287 h 5832572"/>
                  <a:gd name="connsiteX97" fmla="*/ 129481 w 5248564"/>
                  <a:gd name="connsiteY97" fmla="*/ 5517513 h 5832572"/>
                  <a:gd name="connsiteX98" fmla="*/ -1 w 5248564"/>
                  <a:gd name="connsiteY98" fmla="*/ 0 h 5832572"/>
                  <a:gd name="connsiteX0" fmla="*/ 1709607 w 5131712"/>
                  <a:gd name="connsiteY0" fmla="*/ 2863508 h 5846164"/>
                  <a:gd name="connsiteX1" fmla="*/ 1519208 w 5131712"/>
                  <a:gd name="connsiteY1" fmla="*/ 3053907 h 5846164"/>
                  <a:gd name="connsiteX2" fmla="*/ 1519208 w 5131712"/>
                  <a:gd name="connsiteY2" fmla="*/ 3880139 h 5846164"/>
                  <a:gd name="connsiteX3" fmla="*/ 1620620 w 5131712"/>
                  <a:gd name="connsiteY3" fmla="*/ 3981551 h 5846164"/>
                  <a:gd name="connsiteX4" fmla="*/ 1714061 w 5131712"/>
                  <a:gd name="connsiteY4" fmla="*/ 3919613 h 5846164"/>
                  <a:gd name="connsiteX5" fmla="*/ 1715960 w 5131712"/>
                  <a:gd name="connsiteY5" fmla="*/ 3910210 h 5846164"/>
                  <a:gd name="connsiteX6" fmla="*/ 1715546 w 5131712"/>
                  <a:gd name="connsiteY6" fmla="*/ 3909210 h 5846164"/>
                  <a:gd name="connsiteX7" fmla="*/ 1715546 w 5131712"/>
                  <a:gd name="connsiteY7" fmla="*/ 3191737 h 5846164"/>
                  <a:gd name="connsiteX8" fmla="*/ 1756109 w 5131712"/>
                  <a:gd name="connsiteY8" fmla="*/ 3151173 h 5846164"/>
                  <a:gd name="connsiteX9" fmla="*/ 1784793 w 5131712"/>
                  <a:gd name="connsiteY9" fmla="*/ 3163055 h 5846164"/>
                  <a:gd name="connsiteX10" fmla="*/ 1790187 w 5131712"/>
                  <a:gd name="connsiteY10" fmla="*/ 3176078 h 5846164"/>
                  <a:gd name="connsiteX11" fmla="*/ 1790187 w 5131712"/>
                  <a:gd name="connsiteY11" fmla="*/ 3676237 h 5846164"/>
                  <a:gd name="connsiteX12" fmla="*/ 1790187 w 5131712"/>
                  <a:gd name="connsiteY12" fmla="*/ 3981551 h 5846164"/>
                  <a:gd name="connsiteX13" fmla="*/ 1790187 w 5131712"/>
                  <a:gd name="connsiteY13" fmla="*/ 5009771 h 5846164"/>
                  <a:gd name="connsiteX14" fmla="*/ 1922022 w 5131712"/>
                  <a:gd name="connsiteY14" fmla="*/ 5141606 h 5846164"/>
                  <a:gd name="connsiteX15" fmla="*/ 2053856 w 5131712"/>
                  <a:gd name="connsiteY15" fmla="*/ 5009771 h 5846164"/>
                  <a:gd name="connsiteX16" fmla="*/ 2053856 w 5131712"/>
                  <a:gd name="connsiteY16" fmla="*/ 3981551 h 5846164"/>
                  <a:gd name="connsiteX17" fmla="*/ 2122014 w 5131712"/>
                  <a:gd name="connsiteY17" fmla="*/ 3981551 h 5846164"/>
                  <a:gd name="connsiteX18" fmla="*/ 2122014 w 5131712"/>
                  <a:gd name="connsiteY18" fmla="*/ 5009771 h 5846164"/>
                  <a:gd name="connsiteX19" fmla="*/ 2253848 w 5131712"/>
                  <a:gd name="connsiteY19" fmla="*/ 5141606 h 5846164"/>
                  <a:gd name="connsiteX20" fmla="*/ 2385683 w 5131712"/>
                  <a:gd name="connsiteY20" fmla="*/ 5009771 h 5846164"/>
                  <a:gd name="connsiteX21" fmla="*/ 2385683 w 5131712"/>
                  <a:gd name="connsiteY21" fmla="*/ 3981551 h 5846164"/>
                  <a:gd name="connsiteX22" fmla="*/ 2385683 w 5131712"/>
                  <a:gd name="connsiteY22" fmla="*/ 3676237 h 5846164"/>
                  <a:gd name="connsiteX23" fmla="*/ 2385683 w 5131712"/>
                  <a:gd name="connsiteY23" fmla="*/ 3176080 h 5846164"/>
                  <a:gd name="connsiteX24" fmla="*/ 2391079 w 5131712"/>
                  <a:gd name="connsiteY24" fmla="*/ 3163055 h 5846164"/>
                  <a:gd name="connsiteX25" fmla="*/ 2419761 w 5131712"/>
                  <a:gd name="connsiteY25" fmla="*/ 3151173 h 5846164"/>
                  <a:gd name="connsiteX26" fmla="*/ 2460326 w 5131712"/>
                  <a:gd name="connsiteY26" fmla="*/ 3191737 h 5846164"/>
                  <a:gd name="connsiteX27" fmla="*/ 2460326 w 5131712"/>
                  <a:gd name="connsiteY27" fmla="*/ 3909210 h 5846164"/>
                  <a:gd name="connsiteX28" fmla="*/ 2459911 w 5131712"/>
                  <a:gd name="connsiteY28" fmla="*/ 3910210 h 5846164"/>
                  <a:gd name="connsiteX29" fmla="*/ 2461810 w 5131712"/>
                  <a:gd name="connsiteY29" fmla="*/ 3919613 h 5846164"/>
                  <a:gd name="connsiteX30" fmla="*/ 2555252 w 5131712"/>
                  <a:gd name="connsiteY30" fmla="*/ 3981551 h 5846164"/>
                  <a:gd name="connsiteX31" fmla="*/ 2656662 w 5131712"/>
                  <a:gd name="connsiteY31" fmla="*/ 3880139 h 5846164"/>
                  <a:gd name="connsiteX32" fmla="*/ 2656662 w 5131712"/>
                  <a:gd name="connsiteY32" fmla="*/ 3053907 h 5846164"/>
                  <a:gd name="connsiteX33" fmla="*/ 2466263 w 5131712"/>
                  <a:gd name="connsiteY33" fmla="*/ 2863508 h 5846164"/>
                  <a:gd name="connsiteX34" fmla="*/ 2453840 w 5131712"/>
                  <a:gd name="connsiteY34" fmla="*/ 2863508 h 5846164"/>
                  <a:gd name="connsiteX35" fmla="*/ 2385683 w 5131712"/>
                  <a:gd name="connsiteY35" fmla="*/ 2863508 h 5846164"/>
                  <a:gd name="connsiteX36" fmla="*/ 1790187 w 5131712"/>
                  <a:gd name="connsiteY36" fmla="*/ 2863508 h 5846164"/>
                  <a:gd name="connsiteX37" fmla="*/ 1722031 w 5131712"/>
                  <a:gd name="connsiteY37" fmla="*/ 2863508 h 5846164"/>
                  <a:gd name="connsiteX38" fmla="*/ 1709607 w 5131712"/>
                  <a:gd name="connsiteY38" fmla="*/ 2863508 h 5846164"/>
                  <a:gd name="connsiteX39" fmla="*/ 3419246 w 5131712"/>
                  <a:gd name="connsiteY39" fmla="*/ 2850132 h 5846164"/>
                  <a:gd name="connsiteX40" fmla="*/ 3362235 w 5131712"/>
                  <a:gd name="connsiteY40" fmla="*/ 2861643 h 5846164"/>
                  <a:gd name="connsiteX41" fmla="*/ 3284285 w 5131712"/>
                  <a:gd name="connsiteY41" fmla="*/ 2939594 h 5846164"/>
                  <a:gd name="connsiteX42" fmla="*/ 3263013 w 5131712"/>
                  <a:gd name="connsiteY42" fmla="*/ 2995472 h 5846164"/>
                  <a:gd name="connsiteX43" fmla="*/ 3053024 w 5131712"/>
                  <a:gd name="connsiteY43" fmla="*/ 3794573 h 5846164"/>
                  <a:gd name="connsiteX44" fmla="*/ 3125332 w 5131712"/>
                  <a:gd name="connsiteY44" fmla="*/ 3918428 h 5846164"/>
                  <a:gd name="connsiteX45" fmla="*/ 3231446 w 5131712"/>
                  <a:gd name="connsiteY45" fmla="*/ 3882272 h 5846164"/>
                  <a:gd name="connsiteX46" fmla="*/ 3235670 w 5131712"/>
                  <a:gd name="connsiteY46" fmla="*/ 3873661 h 5846164"/>
                  <a:gd name="connsiteX47" fmla="*/ 3235524 w 5131712"/>
                  <a:gd name="connsiteY47" fmla="*/ 3872588 h 5846164"/>
                  <a:gd name="connsiteX48" fmla="*/ 3417872 w 5131712"/>
                  <a:gd name="connsiteY48" fmla="*/ 3178675 h 5846164"/>
                  <a:gd name="connsiteX49" fmla="*/ 3419246 w 5131712"/>
                  <a:gd name="connsiteY49" fmla="*/ 3176865 h 5846164"/>
                  <a:gd name="connsiteX50" fmla="*/ 3419246 w 5131712"/>
                  <a:gd name="connsiteY50" fmla="*/ 3425114 h 5846164"/>
                  <a:gd name="connsiteX51" fmla="*/ 3198323 w 5131712"/>
                  <a:gd name="connsiteY51" fmla="*/ 4228793 h 5846164"/>
                  <a:gd name="connsiteX52" fmla="*/ 3419249 w 5131712"/>
                  <a:gd name="connsiteY52" fmla="*/ 4228793 h 5846164"/>
                  <a:gd name="connsiteX53" fmla="*/ 3419249 w 5131712"/>
                  <a:gd name="connsiteY53" fmla="*/ 4996394 h 5846164"/>
                  <a:gd name="connsiteX54" fmla="*/ 3551083 w 5131712"/>
                  <a:gd name="connsiteY54" fmla="*/ 5128229 h 5846164"/>
                  <a:gd name="connsiteX55" fmla="*/ 3682918 w 5131712"/>
                  <a:gd name="connsiteY55" fmla="*/ 4996394 h 5846164"/>
                  <a:gd name="connsiteX56" fmla="*/ 3682918 w 5131712"/>
                  <a:gd name="connsiteY56" fmla="*/ 4228793 h 5846164"/>
                  <a:gd name="connsiteX57" fmla="*/ 3751075 w 5131712"/>
                  <a:gd name="connsiteY57" fmla="*/ 4228793 h 5846164"/>
                  <a:gd name="connsiteX58" fmla="*/ 3751075 w 5131712"/>
                  <a:gd name="connsiteY58" fmla="*/ 4996394 h 5846164"/>
                  <a:gd name="connsiteX59" fmla="*/ 3882909 w 5131712"/>
                  <a:gd name="connsiteY59" fmla="*/ 5128229 h 5846164"/>
                  <a:gd name="connsiteX60" fmla="*/ 4014744 w 5131712"/>
                  <a:gd name="connsiteY60" fmla="*/ 4996394 h 5846164"/>
                  <a:gd name="connsiteX61" fmla="*/ 4014744 w 5131712"/>
                  <a:gd name="connsiteY61" fmla="*/ 4228793 h 5846164"/>
                  <a:gd name="connsiteX62" fmla="*/ 4230697 w 5131712"/>
                  <a:gd name="connsiteY62" fmla="*/ 4228793 h 5846164"/>
                  <a:gd name="connsiteX63" fmla="*/ 4014742 w 5131712"/>
                  <a:gd name="connsiteY63" fmla="*/ 3443189 h 5846164"/>
                  <a:gd name="connsiteX64" fmla="*/ 4014742 w 5131712"/>
                  <a:gd name="connsiteY64" fmla="*/ 3207451 h 5846164"/>
                  <a:gd name="connsiteX65" fmla="*/ 4201323 w 5131712"/>
                  <a:gd name="connsiteY65" fmla="*/ 3866572 h 5846164"/>
                  <a:gd name="connsiteX66" fmla="*/ 4201201 w 5131712"/>
                  <a:gd name="connsiteY66" fmla="*/ 3867645 h 5846164"/>
                  <a:gd name="connsiteX67" fmla="*/ 4205577 w 5131712"/>
                  <a:gd name="connsiteY67" fmla="*/ 3876179 h 5846164"/>
                  <a:gd name="connsiteX68" fmla="*/ 4311795 w 5131712"/>
                  <a:gd name="connsiteY68" fmla="*/ 3910484 h 5846164"/>
                  <a:gd name="connsiteX69" fmla="*/ 4381144 w 5131712"/>
                  <a:gd name="connsiteY69" fmla="*/ 3785456 h 5846164"/>
                  <a:gd name="connsiteX70" fmla="*/ 4135386 w 5131712"/>
                  <a:gd name="connsiteY70" fmla="*/ 2939594 h 5846164"/>
                  <a:gd name="connsiteX71" fmla="*/ 4057436 w 5131712"/>
                  <a:gd name="connsiteY71" fmla="*/ 2861643 h 5846164"/>
                  <a:gd name="connsiteX72" fmla="*/ 4014742 w 5131712"/>
                  <a:gd name="connsiteY72" fmla="*/ 2850132 h 5846164"/>
                  <a:gd name="connsiteX73" fmla="*/ 4000419 w 5131712"/>
                  <a:gd name="connsiteY73" fmla="*/ 2850132 h 5846164"/>
                  <a:gd name="connsiteX74" fmla="*/ 3419249 w 5131712"/>
                  <a:gd name="connsiteY74" fmla="*/ 2850132 h 5846164"/>
                  <a:gd name="connsiteX75" fmla="*/ 3419246 w 5131712"/>
                  <a:gd name="connsiteY75" fmla="*/ 2850132 h 5846164"/>
                  <a:gd name="connsiteX76" fmla="*/ 2077169 w 5131712"/>
                  <a:gd name="connsiteY76" fmla="*/ 2276730 h 5846164"/>
                  <a:gd name="connsiteX77" fmla="*/ 1805479 w 5131712"/>
                  <a:gd name="connsiteY77" fmla="*/ 2548420 h 5846164"/>
                  <a:gd name="connsiteX78" fmla="*/ 2077169 w 5131712"/>
                  <a:gd name="connsiteY78" fmla="*/ 2820110 h 5846164"/>
                  <a:gd name="connsiteX79" fmla="*/ 2348858 w 5131712"/>
                  <a:gd name="connsiteY79" fmla="*/ 2548420 h 5846164"/>
                  <a:gd name="connsiteX80" fmla="*/ 2077169 w 5131712"/>
                  <a:gd name="connsiteY80" fmla="*/ 2276730 h 5846164"/>
                  <a:gd name="connsiteX81" fmla="*/ 3706229 w 5131712"/>
                  <a:gd name="connsiteY81" fmla="*/ 2263353 h 5846164"/>
                  <a:gd name="connsiteX82" fmla="*/ 3434540 w 5131712"/>
                  <a:gd name="connsiteY82" fmla="*/ 2535043 h 5846164"/>
                  <a:gd name="connsiteX83" fmla="*/ 3706229 w 5131712"/>
                  <a:gd name="connsiteY83" fmla="*/ 2806733 h 5846164"/>
                  <a:gd name="connsiteX84" fmla="*/ 3977919 w 5131712"/>
                  <a:gd name="connsiteY84" fmla="*/ 2535043 h 5846164"/>
                  <a:gd name="connsiteX85" fmla="*/ 3706229 w 5131712"/>
                  <a:gd name="connsiteY85" fmla="*/ 2263353 h 5846164"/>
                  <a:gd name="connsiteX86" fmla="*/ 97869 w 5131712"/>
                  <a:gd name="connsiteY86" fmla="*/ 0 h 5846164"/>
                  <a:gd name="connsiteX87" fmla="*/ 5076860 w 5131712"/>
                  <a:gd name="connsiteY87" fmla="*/ 22485 h 5846164"/>
                  <a:gd name="connsiteX88" fmla="*/ 5076860 w 5131712"/>
                  <a:gd name="connsiteY88" fmla="*/ 879735 h 5846164"/>
                  <a:gd name="connsiteX89" fmla="*/ 5076860 w 5131712"/>
                  <a:gd name="connsiteY89" fmla="*/ 1072988 h 5846164"/>
                  <a:gd name="connsiteX90" fmla="*/ 5076860 w 5131712"/>
                  <a:gd name="connsiteY90" fmla="*/ 5829982 h 5846164"/>
                  <a:gd name="connsiteX91" fmla="*/ 5097393 w 5131712"/>
                  <a:gd name="connsiteY91" fmla="*/ 5843353 h 5846164"/>
                  <a:gd name="connsiteX92" fmla="*/ 5035793 w 5131712"/>
                  <a:gd name="connsiteY92" fmla="*/ 5846164 h 5846164"/>
                  <a:gd name="connsiteX93" fmla="*/ 5131712 w 5131712"/>
                  <a:gd name="connsiteY93" fmla="*/ 5846164 h 5846164"/>
                  <a:gd name="connsiteX94" fmla="*/ 12631 w 5131712"/>
                  <a:gd name="connsiteY94" fmla="*/ 5829983 h 5846164"/>
                  <a:gd name="connsiteX95" fmla="*/ 25262 w 5131712"/>
                  <a:gd name="connsiteY95" fmla="*/ 5829983 h 5846164"/>
                  <a:gd name="connsiteX96" fmla="*/ 0 w 5131712"/>
                  <a:gd name="connsiteY96" fmla="*/ 5571879 h 5846164"/>
                  <a:gd name="connsiteX97" fmla="*/ 12629 w 5131712"/>
                  <a:gd name="connsiteY97" fmla="*/ 5531105 h 5846164"/>
                  <a:gd name="connsiteX98" fmla="*/ 97869 w 5131712"/>
                  <a:gd name="connsiteY98" fmla="*/ 0 h 5846164"/>
                  <a:gd name="connsiteX0" fmla="*/ 1763308 w 5185413"/>
                  <a:gd name="connsiteY0" fmla="*/ 2863508 h 5846164"/>
                  <a:gd name="connsiteX1" fmla="*/ 1572909 w 5185413"/>
                  <a:gd name="connsiteY1" fmla="*/ 3053907 h 5846164"/>
                  <a:gd name="connsiteX2" fmla="*/ 1572909 w 5185413"/>
                  <a:gd name="connsiteY2" fmla="*/ 3880139 h 5846164"/>
                  <a:gd name="connsiteX3" fmla="*/ 1674321 w 5185413"/>
                  <a:gd name="connsiteY3" fmla="*/ 3981551 h 5846164"/>
                  <a:gd name="connsiteX4" fmla="*/ 1767762 w 5185413"/>
                  <a:gd name="connsiteY4" fmla="*/ 3919613 h 5846164"/>
                  <a:gd name="connsiteX5" fmla="*/ 1769661 w 5185413"/>
                  <a:gd name="connsiteY5" fmla="*/ 3910210 h 5846164"/>
                  <a:gd name="connsiteX6" fmla="*/ 1769247 w 5185413"/>
                  <a:gd name="connsiteY6" fmla="*/ 3909210 h 5846164"/>
                  <a:gd name="connsiteX7" fmla="*/ 1769247 w 5185413"/>
                  <a:gd name="connsiteY7" fmla="*/ 3191737 h 5846164"/>
                  <a:gd name="connsiteX8" fmla="*/ 1809810 w 5185413"/>
                  <a:gd name="connsiteY8" fmla="*/ 3151173 h 5846164"/>
                  <a:gd name="connsiteX9" fmla="*/ 1838494 w 5185413"/>
                  <a:gd name="connsiteY9" fmla="*/ 3163055 h 5846164"/>
                  <a:gd name="connsiteX10" fmla="*/ 1843888 w 5185413"/>
                  <a:gd name="connsiteY10" fmla="*/ 3176078 h 5846164"/>
                  <a:gd name="connsiteX11" fmla="*/ 1843888 w 5185413"/>
                  <a:gd name="connsiteY11" fmla="*/ 3676237 h 5846164"/>
                  <a:gd name="connsiteX12" fmla="*/ 1843888 w 5185413"/>
                  <a:gd name="connsiteY12" fmla="*/ 3981551 h 5846164"/>
                  <a:gd name="connsiteX13" fmla="*/ 1843888 w 5185413"/>
                  <a:gd name="connsiteY13" fmla="*/ 5009771 h 5846164"/>
                  <a:gd name="connsiteX14" fmla="*/ 1975723 w 5185413"/>
                  <a:gd name="connsiteY14" fmla="*/ 5141606 h 5846164"/>
                  <a:gd name="connsiteX15" fmla="*/ 2107557 w 5185413"/>
                  <a:gd name="connsiteY15" fmla="*/ 5009771 h 5846164"/>
                  <a:gd name="connsiteX16" fmla="*/ 2107557 w 5185413"/>
                  <a:gd name="connsiteY16" fmla="*/ 3981551 h 5846164"/>
                  <a:gd name="connsiteX17" fmla="*/ 2175715 w 5185413"/>
                  <a:gd name="connsiteY17" fmla="*/ 3981551 h 5846164"/>
                  <a:gd name="connsiteX18" fmla="*/ 2175715 w 5185413"/>
                  <a:gd name="connsiteY18" fmla="*/ 5009771 h 5846164"/>
                  <a:gd name="connsiteX19" fmla="*/ 2307549 w 5185413"/>
                  <a:gd name="connsiteY19" fmla="*/ 5141606 h 5846164"/>
                  <a:gd name="connsiteX20" fmla="*/ 2439384 w 5185413"/>
                  <a:gd name="connsiteY20" fmla="*/ 5009771 h 5846164"/>
                  <a:gd name="connsiteX21" fmla="*/ 2439384 w 5185413"/>
                  <a:gd name="connsiteY21" fmla="*/ 3981551 h 5846164"/>
                  <a:gd name="connsiteX22" fmla="*/ 2439384 w 5185413"/>
                  <a:gd name="connsiteY22" fmla="*/ 3676237 h 5846164"/>
                  <a:gd name="connsiteX23" fmla="*/ 2439384 w 5185413"/>
                  <a:gd name="connsiteY23" fmla="*/ 3176080 h 5846164"/>
                  <a:gd name="connsiteX24" fmla="*/ 2444780 w 5185413"/>
                  <a:gd name="connsiteY24" fmla="*/ 3163055 h 5846164"/>
                  <a:gd name="connsiteX25" fmla="*/ 2473462 w 5185413"/>
                  <a:gd name="connsiteY25" fmla="*/ 3151173 h 5846164"/>
                  <a:gd name="connsiteX26" fmla="*/ 2514027 w 5185413"/>
                  <a:gd name="connsiteY26" fmla="*/ 3191737 h 5846164"/>
                  <a:gd name="connsiteX27" fmla="*/ 2514027 w 5185413"/>
                  <a:gd name="connsiteY27" fmla="*/ 3909210 h 5846164"/>
                  <a:gd name="connsiteX28" fmla="*/ 2513612 w 5185413"/>
                  <a:gd name="connsiteY28" fmla="*/ 3910210 h 5846164"/>
                  <a:gd name="connsiteX29" fmla="*/ 2515511 w 5185413"/>
                  <a:gd name="connsiteY29" fmla="*/ 3919613 h 5846164"/>
                  <a:gd name="connsiteX30" fmla="*/ 2608953 w 5185413"/>
                  <a:gd name="connsiteY30" fmla="*/ 3981551 h 5846164"/>
                  <a:gd name="connsiteX31" fmla="*/ 2710363 w 5185413"/>
                  <a:gd name="connsiteY31" fmla="*/ 3880139 h 5846164"/>
                  <a:gd name="connsiteX32" fmla="*/ 2710363 w 5185413"/>
                  <a:gd name="connsiteY32" fmla="*/ 3053907 h 5846164"/>
                  <a:gd name="connsiteX33" fmla="*/ 2519964 w 5185413"/>
                  <a:gd name="connsiteY33" fmla="*/ 2863508 h 5846164"/>
                  <a:gd name="connsiteX34" fmla="*/ 2507541 w 5185413"/>
                  <a:gd name="connsiteY34" fmla="*/ 2863508 h 5846164"/>
                  <a:gd name="connsiteX35" fmla="*/ 2439384 w 5185413"/>
                  <a:gd name="connsiteY35" fmla="*/ 2863508 h 5846164"/>
                  <a:gd name="connsiteX36" fmla="*/ 1843888 w 5185413"/>
                  <a:gd name="connsiteY36" fmla="*/ 2863508 h 5846164"/>
                  <a:gd name="connsiteX37" fmla="*/ 1775732 w 5185413"/>
                  <a:gd name="connsiteY37" fmla="*/ 2863508 h 5846164"/>
                  <a:gd name="connsiteX38" fmla="*/ 1763308 w 5185413"/>
                  <a:gd name="connsiteY38" fmla="*/ 2863508 h 5846164"/>
                  <a:gd name="connsiteX39" fmla="*/ 3472947 w 5185413"/>
                  <a:gd name="connsiteY39" fmla="*/ 2850132 h 5846164"/>
                  <a:gd name="connsiteX40" fmla="*/ 3415936 w 5185413"/>
                  <a:gd name="connsiteY40" fmla="*/ 2861643 h 5846164"/>
                  <a:gd name="connsiteX41" fmla="*/ 3337986 w 5185413"/>
                  <a:gd name="connsiteY41" fmla="*/ 2939594 h 5846164"/>
                  <a:gd name="connsiteX42" fmla="*/ 3316714 w 5185413"/>
                  <a:gd name="connsiteY42" fmla="*/ 2995472 h 5846164"/>
                  <a:gd name="connsiteX43" fmla="*/ 3106725 w 5185413"/>
                  <a:gd name="connsiteY43" fmla="*/ 3794573 h 5846164"/>
                  <a:gd name="connsiteX44" fmla="*/ 3179033 w 5185413"/>
                  <a:gd name="connsiteY44" fmla="*/ 3918428 h 5846164"/>
                  <a:gd name="connsiteX45" fmla="*/ 3285147 w 5185413"/>
                  <a:gd name="connsiteY45" fmla="*/ 3882272 h 5846164"/>
                  <a:gd name="connsiteX46" fmla="*/ 3289371 w 5185413"/>
                  <a:gd name="connsiteY46" fmla="*/ 3873661 h 5846164"/>
                  <a:gd name="connsiteX47" fmla="*/ 3289225 w 5185413"/>
                  <a:gd name="connsiteY47" fmla="*/ 3872588 h 5846164"/>
                  <a:gd name="connsiteX48" fmla="*/ 3471573 w 5185413"/>
                  <a:gd name="connsiteY48" fmla="*/ 3178675 h 5846164"/>
                  <a:gd name="connsiteX49" fmla="*/ 3472947 w 5185413"/>
                  <a:gd name="connsiteY49" fmla="*/ 3176865 h 5846164"/>
                  <a:gd name="connsiteX50" fmla="*/ 3472947 w 5185413"/>
                  <a:gd name="connsiteY50" fmla="*/ 3425114 h 5846164"/>
                  <a:gd name="connsiteX51" fmla="*/ 3252024 w 5185413"/>
                  <a:gd name="connsiteY51" fmla="*/ 4228793 h 5846164"/>
                  <a:gd name="connsiteX52" fmla="*/ 3472950 w 5185413"/>
                  <a:gd name="connsiteY52" fmla="*/ 4228793 h 5846164"/>
                  <a:gd name="connsiteX53" fmla="*/ 3472950 w 5185413"/>
                  <a:gd name="connsiteY53" fmla="*/ 4996394 h 5846164"/>
                  <a:gd name="connsiteX54" fmla="*/ 3604784 w 5185413"/>
                  <a:gd name="connsiteY54" fmla="*/ 5128229 h 5846164"/>
                  <a:gd name="connsiteX55" fmla="*/ 3736619 w 5185413"/>
                  <a:gd name="connsiteY55" fmla="*/ 4996394 h 5846164"/>
                  <a:gd name="connsiteX56" fmla="*/ 3736619 w 5185413"/>
                  <a:gd name="connsiteY56" fmla="*/ 4228793 h 5846164"/>
                  <a:gd name="connsiteX57" fmla="*/ 3804776 w 5185413"/>
                  <a:gd name="connsiteY57" fmla="*/ 4228793 h 5846164"/>
                  <a:gd name="connsiteX58" fmla="*/ 3804776 w 5185413"/>
                  <a:gd name="connsiteY58" fmla="*/ 4996394 h 5846164"/>
                  <a:gd name="connsiteX59" fmla="*/ 3936610 w 5185413"/>
                  <a:gd name="connsiteY59" fmla="*/ 5128229 h 5846164"/>
                  <a:gd name="connsiteX60" fmla="*/ 4068445 w 5185413"/>
                  <a:gd name="connsiteY60" fmla="*/ 4996394 h 5846164"/>
                  <a:gd name="connsiteX61" fmla="*/ 4068445 w 5185413"/>
                  <a:gd name="connsiteY61" fmla="*/ 4228793 h 5846164"/>
                  <a:gd name="connsiteX62" fmla="*/ 4284398 w 5185413"/>
                  <a:gd name="connsiteY62" fmla="*/ 4228793 h 5846164"/>
                  <a:gd name="connsiteX63" fmla="*/ 4068443 w 5185413"/>
                  <a:gd name="connsiteY63" fmla="*/ 3443189 h 5846164"/>
                  <a:gd name="connsiteX64" fmla="*/ 4068443 w 5185413"/>
                  <a:gd name="connsiteY64" fmla="*/ 3207451 h 5846164"/>
                  <a:gd name="connsiteX65" fmla="*/ 4255024 w 5185413"/>
                  <a:gd name="connsiteY65" fmla="*/ 3866572 h 5846164"/>
                  <a:gd name="connsiteX66" fmla="*/ 4254902 w 5185413"/>
                  <a:gd name="connsiteY66" fmla="*/ 3867645 h 5846164"/>
                  <a:gd name="connsiteX67" fmla="*/ 4259278 w 5185413"/>
                  <a:gd name="connsiteY67" fmla="*/ 3876179 h 5846164"/>
                  <a:gd name="connsiteX68" fmla="*/ 4365496 w 5185413"/>
                  <a:gd name="connsiteY68" fmla="*/ 3910484 h 5846164"/>
                  <a:gd name="connsiteX69" fmla="*/ 4434845 w 5185413"/>
                  <a:gd name="connsiteY69" fmla="*/ 3785456 h 5846164"/>
                  <a:gd name="connsiteX70" fmla="*/ 4189087 w 5185413"/>
                  <a:gd name="connsiteY70" fmla="*/ 2939594 h 5846164"/>
                  <a:gd name="connsiteX71" fmla="*/ 4111137 w 5185413"/>
                  <a:gd name="connsiteY71" fmla="*/ 2861643 h 5846164"/>
                  <a:gd name="connsiteX72" fmla="*/ 4068443 w 5185413"/>
                  <a:gd name="connsiteY72" fmla="*/ 2850132 h 5846164"/>
                  <a:gd name="connsiteX73" fmla="*/ 4054120 w 5185413"/>
                  <a:gd name="connsiteY73" fmla="*/ 2850132 h 5846164"/>
                  <a:gd name="connsiteX74" fmla="*/ 3472950 w 5185413"/>
                  <a:gd name="connsiteY74" fmla="*/ 2850132 h 5846164"/>
                  <a:gd name="connsiteX75" fmla="*/ 3472947 w 5185413"/>
                  <a:gd name="connsiteY75" fmla="*/ 2850132 h 5846164"/>
                  <a:gd name="connsiteX76" fmla="*/ 2130870 w 5185413"/>
                  <a:gd name="connsiteY76" fmla="*/ 2276730 h 5846164"/>
                  <a:gd name="connsiteX77" fmla="*/ 1859180 w 5185413"/>
                  <a:gd name="connsiteY77" fmla="*/ 2548420 h 5846164"/>
                  <a:gd name="connsiteX78" fmla="*/ 2130870 w 5185413"/>
                  <a:gd name="connsiteY78" fmla="*/ 2820110 h 5846164"/>
                  <a:gd name="connsiteX79" fmla="*/ 2402559 w 5185413"/>
                  <a:gd name="connsiteY79" fmla="*/ 2548420 h 5846164"/>
                  <a:gd name="connsiteX80" fmla="*/ 2130870 w 5185413"/>
                  <a:gd name="connsiteY80" fmla="*/ 2276730 h 5846164"/>
                  <a:gd name="connsiteX81" fmla="*/ 3759930 w 5185413"/>
                  <a:gd name="connsiteY81" fmla="*/ 2263353 h 5846164"/>
                  <a:gd name="connsiteX82" fmla="*/ 3488241 w 5185413"/>
                  <a:gd name="connsiteY82" fmla="*/ 2535043 h 5846164"/>
                  <a:gd name="connsiteX83" fmla="*/ 3759930 w 5185413"/>
                  <a:gd name="connsiteY83" fmla="*/ 2806733 h 5846164"/>
                  <a:gd name="connsiteX84" fmla="*/ 4031620 w 5185413"/>
                  <a:gd name="connsiteY84" fmla="*/ 2535043 h 5846164"/>
                  <a:gd name="connsiteX85" fmla="*/ 3759930 w 5185413"/>
                  <a:gd name="connsiteY85" fmla="*/ 2263353 h 5846164"/>
                  <a:gd name="connsiteX86" fmla="*/ 0 w 5185413"/>
                  <a:gd name="connsiteY86" fmla="*/ 0 h 5846164"/>
                  <a:gd name="connsiteX87" fmla="*/ 5130561 w 5185413"/>
                  <a:gd name="connsiteY87" fmla="*/ 22485 h 5846164"/>
                  <a:gd name="connsiteX88" fmla="*/ 5130561 w 5185413"/>
                  <a:gd name="connsiteY88" fmla="*/ 879735 h 5846164"/>
                  <a:gd name="connsiteX89" fmla="*/ 5130561 w 5185413"/>
                  <a:gd name="connsiteY89" fmla="*/ 1072988 h 5846164"/>
                  <a:gd name="connsiteX90" fmla="*/ 5130561 w 5185413"/>
                  <a:gd name="connsiteY90" fmla="*/ 5829982 h 5846164"/>
                  <a:gd name="connsiteX91" fmla="*/ 5151094 w 5185413"/>
                  <a:gd name="connsiteY91" fmla="*/ 5843353 h 5846164"/>
                  <a:gd name="connsiteX92" fmla="*/ 5089494 w 5185413"/>
                  <a:gd name="connsiteY92" fmla="*/ 5846164 h 5846164"/>
                  <a:gd name="connsiteX93" fmla="*/ 5185413 w 5185413"/>
                  <a:gd name="connsiteY93" fmla="*/ 5846164 h 5846164"/>
                  <a:gd name="connsiteX94" fmla="*/ 66332 w 5185413"/>
                  <a:gd name="connsiteY94" fmla="*/ 5829983 h 5846164"/>
                  <a:gd name="connsiteX95" fmla="*/ 78963 w 5185413"/>
                  <a:gd name="connsiteY95" fmla="*/ 5829983 h 5846164"/>
                  <a:gd name="connsiteX96" fmla="*/ 53701 w 5185413"/>
                  <a:gd name="connsiteY96" fmla="*/ 5571879 h 5846164"/>
                  <a:gd name="connsiteX97" fmla="*/ 66330 w 5185413"/>
                  <a:gd name="connsiteY97" fmla="*/ 5531105 h 5846164"/>
                  <a:gd name="connsiteX98" fmla="*/ 0 w 5185413"/>
                  <a:gd name="connsiteY98" fmla="*/ 0 h 5846164"/>
                  <a:gd name="connsiteX0" fmla="*/ 1738046 w 5160151"/>
                  <a:gd name="connsiteY0" fmla="*/ 2841023 h 5823679"/>
                  <a:gd name="connsiteX1" fmla="*/ 1547647 w 5160151"/>
                  <a:gd name="connsiteY1" fmla="*/ 3031422 h 5823679"/>
                  <a:gd name="connsiteX2" fmla="*/ 1547647 w 5160151"/>
                  <a:gd name="connsiteY2" fmla="*/ 3857654 h 5823679"/>
                  <a:gd name="connsiteX3" fmla="*/ 1649059 w 5160151"/>
                  <a:gd name="connsiteY3" fmla="*/ 3959066 h 5823679"/>
                  <a:gd name="connsiteX4" fmla="*/ 1742500 w 5160151"/>
                  <a:gd name="connsiteY4" fmla="*/ 3897128 h 5823679"/>
                  <a:gd name="connsiteX5" fmla="*/ 1744399 w 5160151"/>
                  <a:gd name="connsiteY5" fmla="*/ 3887725 h 5823679"/>
                  <a:gd name="connsiteX6" fmla="*/ 1743985 w 5160151"/>
                  <a:gd name="connsiteY6" fmla="*/ 3886725 h 5823679"/>
                  <a:gd name="connsiteX7" fmla="*/ 1743985 w 5160151"/>
                  <a:gd name="connsiteY7" fmla="*/ 3169252 h 5823679"/>
                  <a:gd name="connsiteX8" fmla="*/ 1784548 w 5160151"/>
                  <a:gd name="connsiteY8" fmla="*/ 3128688 h 5823679"/>
                  <a:gd name="connsiteX9" fmla="*/ 1813232 w 5160151"/>
                  <a:gd name="connsiteY9" fmla="*/ 3140570 h 5823679"/>
                  <a:gd name="connsiteX10" fmla="*/ 1818626 w 5160151"/>
                  <a:gd name="connsiteY10" fmla="*/ 3153593 h 5823679"/>
                  <a:gd name="connsiteX11" fmla="*/ 1818626 w 5160151"/>
                  <a:gd name="connsiteY11" fmla="*/ 3653752 h 5823679"/>
                  <a:gd name="connsiteX12" fmla="*/ 1818626 w 5160151"/>
                  <a:gd name="connsiteY12" fmla="*/ 3959066 h 5823679"/>
                  <a:gd name="connsiteX13" fmla="*/ 1818626 w 5160151"/>
                  <a:gd name="connsiteY13" fmla="*/ 4987286 h 5823679"/>
                  <a:gd name="connsiteX14" fmla="*/ 1950461 w 5160151"/>
                  <a:gd name="connsiteY14" fmla="*/ 5119121 h 5823679"/>
                  <a:gd name="connsiteX15" fmla="*/ 2082295 w 5160151"/>
                  <a:gd name="connsiteY15" fmla="*/ 4987286 h 5823679"/>
                  <a:gd name="connsiteX16" fmla="*/ 2082295 w 5160151"/>
                  <a:gd name="connsiteY16" fmla="*/ 3959066 h 5823679"/>
                  <a:gd name="connsiteX17" fmla="*/ 2150453 w 5160151"/>
                  <a:gd name="connsiteY17" fmla="*/ 3959066 h 5823679"/>
                  <a:gd name="connsiteX18" fmla="*/ 2150453 w 5160151"/>
                  <a:gd name="connsiteY18" fmla="*/ 4987286 h 5823679"/>
                  <a:gd name="connsiteX19" fmla="*/ 2282287 w 5160151"/>
                  <a:gd name="connsiteY19" fmla="*/ 5119121 h 5823679"/>
                  <a:gd name="connsiteX20" fmla="*/ 2414122 w 5160151"/>
                  <a:gd name="connsiteY20" fmla="*/ 4987286 h 5823679"/>
                  <a:gd name="connsiteX21" fmla="*/ 2414122 w 5160151"/>
                  <a:gd name="connsiteY21" fmla="*/ 3959066 h 5823679"/>
                  <a:gd name="connsiteX22" fmla="*/ 2414122 w 5160151"/>
                  <a:gd name="connsiteY22" fmla="*/ 3653752 h 5823679"/>
                  <a:gd name="connsiteX23" fmla="*/ 2414122 w 5160151"/>
                  <a:gd name="connsiteY23" fmla="*/ 3153595 h 5823679"/>
                  <a:gd name="connsiteX24" fmla="*/ 2419518 w 5160151"/>
                  <a:gd name="connsiteY24" fmla="*/ 3140570 h 5823679"/>
                  <a:gd name="connsiteX25" fmla="*/ 2448200 w 5160151"/>
                  <a:gd name="connsiteY25" fmla="*/ 3128688 h 5823679"/>
                  <a:gd name="connsiteX26" fmla="*/ 2488765 w 5160151"/>
                  <a:gd name="connsiteY26" fmla="*/ 3169252 h 5823679"/>
                  <a:gd name="connsiteX27" fmla="*/ 2488765 w 5160151"/>
                  <a:gd name="connsiteY27" fmla="*/ 3886725 h 5823679"/>
                  <a:gd name="connsiteX28" fmla="*/ 2488350 w 5160151"/>
                  <a:gd name="connsiteY28" fmla="*/ 3887725 h 5823679"/>
                  <a:gd name="connsiteX29" fmla="*/ 2490249 w 5160151"/>
                  <a:gd name="connsiteY29" fmla="*/ 3897128 h 5823679"/>
                  <a:gd name="connsiteX30" fmla="*/ 2583691 w 5160151"/>
                  <a:gd name="connsiteY30" fmla="*/ 3959066 h 5823679"/>
                  <a:gd name="connsiteX31" fmla="*/ 2685101 w 5160151"/>
                  <a:gd name="connsiteY31" fmla="*/ 3857654 h 5823679"/>
                  <a:gd name="connsiteX32" fmla="*/ 2685101 w 5160151"/>
                  <a:gd name="connsiteY32" fmla="*/ 3031422 h 5823679"/>
                  <a:gd name="connsiteX33" fmla="*/ 2494702 w 5160151"/>
                  <a:gd name="connsiteY33" fmla="*/ 2841023 h 5823679"/>
                  <a:gd name="connsiteX34" fmla="*/ 2482279 w 5160151"/>
                  <a:gd name="connsiteY34" fmla="*/ 2841023 h 5823679"/>
                  <a:gd name="connsiteX35" fmla="*/ 2414122 w 5160151"/>
                  <a:gd name="connsiteY35" fmla="*/ 2841023 h 5823679"/>
                  <a:gd name="connsiteX36" fmla="*/ 1818626 w 5160151"/>
                  <a:gd name="connsiteY36" fmla="*/ 2841023 h 5823679"/>
                  <a:gd name="connsiteX37" fmla="*/ 1750470 w 5160151"/>
                  <a:gd name="connsiteY37" fmla="*/ 2841023 h 5823679"/>
                  <a:gd name="connsiteX38" fmla="*/ 1738046 w 5160151"/>
                  <a:gd name="connsiteY38" fmla="*/ 2841023 h 5823679"/>
                  <a:gd name="connsiteX39" fmla="*/ 3447685 w 5160151"/>
                  <a:gd name="connsiteY39" fmla="*/ 2827647 h 5823679"/>
                  <a:gd name="connsiteX40" fmla="*/ 3390674 w 5160151"/>
                  <a:gd name="connsiteY40" fmla="*/ 2839158 h 5823679"/>
                  <a:gd name="connsiteX41" fmla="*/ 3312724 w 5160151"/>
                  <a:gd name="connsiteY41" fmla="*/ 2917109 h 5823679"/>
                  <a:gd name="connsiteX42" fmla="*/ 3291452 w 5160151"/>
                  <a:gd name="connsiteY42" fmla="*/ 2972987 h 5823679"/>
                  <a:gd name="connsiteX43" fmla="*/ 3081463 w 5160151"/>
                  <a:gd name="connsiteY43" fmla="*/ 3772088 h 5823679"/>
                  <a:gd name="connsiteX44" fmla="*/ 3153771 w 5160151"/>
                  <a:gd name="connsiteY44" fmla="*/ 3895943 h 5823679"/>
                  <a:gd name="connsiteX45" fmla="*/ 3259885 w 5160151"/>
                  <a:gd name="connsiteY45" fmla="*/ 3859787 h 5823679"/>
                  <a:gd name="connsiteX46" fmla="*/ 3264109 w 5160151"/>
                  <a:gd name="connsiteY46" fmla="*/ 3851176 h 5823679"/>
                  <a:gd name="connsiteX47" fmla="*/ 3263963 w 5160151"/>
                  <a:gd name="connsiteY47" fmla="*/ 3850103 h 5823679"/>
                  <a:gd name="connsiteX48" fmla="*/ 3446311 w 5160151"/>
                  <a:gd name="connsiteY48" fmla="*/ 3156190 h 5823679"/>
                  <a:gd name="connsiteX49" fmla="*/ 3447685 w 5160151"/>
                  <a:gd name="connsiteY49" fmla="*/ 3154380 h 5823679"/>
                  <a:gd name="connsiteX50" fmla="*/ 3447685 w 5160151"/>
                  <a:gd name="connsiteY50" fmla="*/ 3402629 h 5823679"/>
                  <a:gd name="connsiteX51" fmla="*/ 3226762 w 5160151"/>
                  <a:gd name="connsiteY51" fmla="*/ 4206308 h 5823679"/>
                  <a:gd name="connsiteX52" fmla="*/ 3447688 w 5160151"/>
                  <a:gd name="connsiteY52" fmla="*/ 4206308 h 5823679"/>
                  <a:gd name="connsiteX53" fmla="*/ 3447688 w 5160151"/>
                  <a:gd name="connsiteY53" fmla="*/ 4973909 h 5823679"/>
                  <a:gd name="connsiteX54" fmla="*/ 3579522 w 5160151"/>
                  <a:gd name="connsiteY54" fmla="*/ 5105744 h 5823679"/>
                  <a:gd name="connsiteX55" fmla="*/ 3711357 w 5160151"/>
                  <a:gd name="connsiteY55" fmla="*/ 4973909 h 5823679"/>
                  <a:gd name="connsiteX56" fmla="*/ 3711357 w 5160151"/>
                  <a:gd name="connsiteY56" fmla="*/ 4206308 h 5823679"/>
                  <a:gd name="connsiteX57" fmla="*/ 3779514 w 5160151"/>
                  <a:gd name="connsiteY57" fmla="*/ 4206308 h 5823679"/>
                  <a:gd name="connsiteX58" fmla="*/ 3779514 w 5160151"/>
                  <a:gd name="connsiteY58" fmla="*/ 4973909 h 5823679"/>
                  <a:gd name="connsiteX59" fmla="*/ 3911348 w 5160151"/>
                  <a:gd name="connsiteY59" fmla="*/ 5105744 h 5823679"/>
                  <a:gd name="connsiteX60" fmla="*/ 4043183 w 5160151"/>
                  <a:gd name="connsiteY60" fmla="*/ 4973909 h 5823679"/>
                  <a:gd name="connsiteX61" fmla="*/ 4043183 w 5160151"/>
                  <a:gd name="connsiteY61" fmla="*/ 4206308 h 5823679"/>
                  <a:gd name="connsiteX62" fmla="*/ 4259136 w 5160151"/>
                  <a:gd name="connsiteY62" fmla="*/ 4206308 h 5823679"/>
                  <a:gd name="connsiteX63" fmla="*/ 4043181 w 5160151"/>
                  <a:gd name="connsiteY63" fmla="*/ 3420704 h 5823679"/>
                  <a:gd name="connsiteX64" fmla="*/ 4043181 w 5160151"/>
                  <a:gd name="connsiteY64" fmla="*/ 3184966 h 5823679"/>
                  <a:gd name="connsiteX65" fmla="*/ 4229762 w 5160151"/>
                  <a:gd name="connsiteY65" fmla="*/ 3844087 h 5823679"/>
                  <a:gd name="connsiteX66" fmla="*/ 4229640 w 5160151"/>
                  <a:gd name="connsiteY66" fmla="*/ 3845160 h 5823679"/>
                  <a:gd name="connsiteX67" fmla="*/ 4234016 w 5160151"/>
                  <a:gd name="connsiteY67" fmla="*/ 3853694 h 5823679"/>
                  <a:gd name="connsiteX68" fmla="*/ 4340234 w 5160151"/>
                  <a:gd name="connsiteY68" fmla="*/ 3887999 h 5823679"/>
                  <a:gd name="connsiteX69" fmla="*/ 4409583 w 5160151"/>
                  <a:gd name="connsiteY69" fmla="*/ 3762971 h 5823679"/>
                  <a:gd name="connsiteX70" fmla="*/ 4163825 w 5160151"/>
                  <a:gd name="connsiteY70" fmla="*/ 2917109 h 5823679"/>
                  <a:gd name="connsiteX71" fmla="*/ 4085875 w 5160151"/>
                  <a:gd name="connsiteY71" fmla="*/ 2839158 h 5823679"/>
                  <a:gd name="connsiteX72" fmla="*/ 4043181 w 5160151"/>
                  <a:gd name="connsiteY72" fmla="*/ 2827647 h 5823679"/>
                  <a:gd name="connsiteX73" fmla="*/ 4028858 w 5160151"/>
                  <a:gd name="connsiteY73" fmla="*/ 2827647 h 5823679"/>
                  <a:gd name="connsiteX74" fmla="*/ 3447688 w 5160151"/>
                  <a:gd name="connsiteY74" fmla="*/ 2827647 h 5823679"/>
                  <a:gd name="connsiteX75" fmla="*/ 3447685 w 5160151"/>
                  <a:gd name="connsiteY75" fmla="*/ 2827647 h 5823679"/>
                  <a:gd name="connsiteX76" fmla="*/ 2105608 w 5160151"/>
                  <a:gd name="connsiteY76" fmla="*/ 2254245 h 5823679"/>
                  <a:gd name="connsiteX77" fmla="*/ 1833918 w 5160151"/>
                  <a:gd name="connsiteY77" fmla="*/ 2525935 h 5823679"/>
                  <a:gd name="connsiteX78" fmla="*/ 2105608 w 5160151"/>
                  <a:gd name="connsiteY78" fmla="*/ 2797625 h 5823679"/>
                  <a:gd name="connsiteX79" fmla="*/ 2377297 w 5160151"/>
                  <a:gd name="connsiteY79" fmla="*/ 2525935 h 5823679"/>
                  <a:gd name="connsiteX80" fmla="*/ 2105608 w 5160151"/>
                  <a:gd name="connsiteY80" fmla="*/ 2254245 h 5823679"/>
                  <a:gd name="connsiteX81" fmla="*/ 3734668 w 5160151"/>
                  <a:gd name="connsiteY81" fmla="*/ 2240868 h 5823679"/>
                  <a:gd name="connsiteX82" fmla="*/ 3462979 w 5160151"/>
                  <a:gd name="connsiteY82" fmla="*/ 2512558 h 5823679"/>
                  <a:gd name="connsiteX83" fmla="*/ 3734668 w 5160151"/>
                  <a:gd name="connsiteY83" fmla="*/ 2784248 h 5823679"/>
                  <a:gd name="connsiteX84" fmla="*/ 4006358 w 5160151"/>
                  <a:gd name="connsiteY84" fmla="*/ 2512558 h 5823679"/>
                  <a:gd name="connsiteX85" fmla="*/ 3734668 w 5160151"/>
                  <a:gd name="connsiteY85" fmla="*/ 2240868 h 5823679"/>
                  <a:gd name="connsiteX86" fmla="*/ 0 w 5160151"/>
                  <a:gd name="connsiteY86" fmla="*/ 1418247 h 5823679"/>
                  <a:gd name="connsiteX87" fmla="*/ 5105299 w 5160151"/>
                  <a:gd name="connsiteY87" fmla="*/ 0 h 5823679"/>
                  <a:gd name="connsiteX88" fmla="*/ 5105299 w 5160151"/>
                  <a:gd name="connsiteY88" fmla="*/ 857250 h 5823679"/>
                  <a:gd name="connsiteX89" fmla="*/ 5105299 w 5160151"/>
                  <a:gd name="connsiteY89" fmla="*/ 1050503 h 5823679"/>
                  <a:gd name="connsiteX90" fmla="*/ 5105299 w 5160151"/>
                  <a:gd name="connsiteY90" fmla="*/ 5807497 h 5823679"/>
                  <a:gd name="connsiteX91" fmla="*/ 5125832 w 5160151"/>
                  <a:gd name="connsiteY91" fmla="*/ 5820868 h 5823679"/>
                  <a:gd name="connsiteX92" fmla="*/ 5064232 w 5160151"/>
                  <a:gd name="connsiteY92" fmla="*/ 5823679 h 5823679"/>
                  <a:gd name="connsiteX93" fmla="*/ 5160151 w 5160151"/>
                  <a:gd name="connsiteY93" fmla="*/ 5823679 h 5823679"/>
                  <a:gd name="connsiteX94" fmla="*/ 41070 w 5160151"/>
                  <a:gd name="connsiteY94" fmla="*/ 5807498 h 5823679"/>
                  <a:gd name="connsiteX95" fmla="*/ 53701 w 5160151"/>
                  <a:gd name="connsiteY95" fmla="*/ 5807498 h 5823679"/>
                  <a:gd name="connsiteX96" fmla="*/ 28439 w 5160151"/>
                  <a:gd name="connsiteY96" fmla="*/ 5549394 h 5823679"/>
                  <a:gd name="connsiteX97" fmla="*/ 41068 w 5160151"/>
                  <a:gd name="connsiteY97" fmla="*/ 5508620 h 5823679"/>
                  <a:gd name="connsiteX98" fmla="*/ 0 w 5160151"/>
                  <a:gd name="connsiteY98" fmla="*/ 1418247 h 5823679"/>
                  <a:gd name="connsiteX0" fmla="*/ 1738046 w 5160151"/>
                  <a:gd name="connsiteY0" fmla="*/ 1983773 h 4966429"/>
                  <a:gd name="connsiteX1" fmla="*/ 1547647 w 5160151"/>
                  <a:gd name="connsiteY1" fmla="*/ 2174172 h 4966429"/>
                  <a:gd name="connsiteX2" fmla="*/ 1547647 w 5160151"/>
                  <a:gd name="connsiteY2" fmla="*/ 3000404 h 4966429"/>
                  <a:gd name="connsiteX3" fmla="*/ 1649059 w 5160151"/>
                  <a:gd name="connsiteY3" fmla="*/ 3101816 h 4966429"/>
                  <a:gd name="connsiteX4" fmla="*/ 1742500 w 5160151"/>
                  <a:gd name="connsiteY4" fmla="*/ 3039878 h 4966429"/>
                  <a:gd name="connsiteX5" fmla="*/ 1744399 w 5160151"/>
                  <a:gd name="connsiteY5" fmla="*/ 3030475 h 4966429"/>
                  <a:gd name="connsiteX6" fmla="*/ 1743985 w 5160151"/>
                  <a:gd name="connsiteY6" fmla="*/ 3029475 h 4966429"/>
                  <a:gd name="connsiteX7" fmla="*/ 1743985 w 5160151"/>
                  <a:gd name="connsiteY7" fmla="*/ 2312002 h 4966429"/>
                  <a:gd name="connsiteX8" fmla="*/ 1784548 w 5160151"/>
                  <a:gd name="connsiteY8" fmla="*/ 2271438 h 4966429"/>
                  <a:gd name="connsiteX9" fmla="*/ 1813232 w 5160151"/>
                  <a:gd name="connsiteY9" fmla="*/ 2283320 h 4966429"/>
                  <a:gd name="connsiteX10" fmla="*/ 1818626 w 5160151"/>
                  <a:gd name="connsiteY10" fmla="*/ 2296343 h 4966429"/>
                  <a:gd name="connsiteX11" fmla="*/ 1818626 w 5160151"/>
                  <a:gd name="connsiteY11" fmla="*/ 2796502 h 4966429"/>
                  <a:gd name="connsiteX12" fmla="*/ 1818626 w 5160151"/>
                  <a:gd name="connsiteY12" fmla="*/ 3101816 h 4966429"/>
                  <a:gd name="connsiteX13" fmla="*/ 1818626 w 5160151"/>
                  <a:gd name="connsiteY13" fmla="*/ 4130036 h 4966429"/>
                  <a:gd name="connsiteX14" fmla="*/ 1950461 w 5160151"/>
                  <a:gd name="connsiteY14" fmla="*/ 4261871 h 4966429"/>
                  <a:gd name="connsiteX15" fmla="*/ 2082295 w 5160151"/>
                  <a:gd name="connsiteY15" fmla="*/ 4130036 h 4966429"/>
                  <a:gd name="connsiteX16" fmla="*/ 2082295 w 5160151"/>
                  <a:gd name="connsiteY16" fmla="*/ 3101816 h 4966429"/>
                  <a:gd name="connsiteX17" fmla="*/ 2150453 w 5160151"/>
                  <a:gd name="connsiteY17" fmla="*/ 3101816 h 4966429"/>
                  <a:gd name="connsiteX18" fmla="*/ 2150453 w 5160151"/>
                  <a:gd name="connsiteY18" fmla="*/ 4130036 h 4966429"/>
                  <a:gd name="connsiteX19" fmla="*/ 2282287 w 5160151"/>
                  <a:gd name="connsiteY19" fmla="*/ 4261871 h 4966429"/>
                  <a:gd name="connsiteX20" fmla="*/ 2414122 w 5160151"/>
                  <a:gd name="connsiteY20" fmla="*/ 4130036 h 4966429"/>
                  <a:gd name="connsiteX21" fmla="*/ 2414122 w 5160151"/>
                  <a:gd name="connsiteY21" fmla="*/ 3101816 h 4966429"/>
                  <a:gd name="connsiteX22" fmla="*/ 2414122 w 5160151"/>
                  <a:gd name="connsiteY22" fmla="*/ 2796502 h 4966429"/>
                  <a:gd name="connsiteX23" fmla="*/ 2414122 w 5160151"/>
                  <a:gd name="connsiteY23" fmla="*/ 2296345 h 4966429"/>
                  <a:gd name="connsiteX24" fmla="*/ 2419518 w 5160151"/>
                  <a:gd name="connsiteY24" fmla="*/ 2283320 h 4966429"/>
                  <a:gd name="connsiteX25" fmla="*/ 2448200 w 5160151"/>
                  <a:gd name="connsiteY25" fmla="*/ 2271438 h 4966429"/>
                  <a:gd name="connsiteX26" fmla="*/ 2488765 w 5160151"/>
                  <a:gd name="connsiteY26" fmla="*/ 2312002 h 4966429"/>
                  <a:gd name="connsiteX27" fmla="*/ 2488765 w 5160151"/>
                  <a:gd name="connsiteY27" fmla="*/ 3029475 h 4966429"/>
                  <a:gd name="connsiteX28" fmla="*/ 2488350 w 5160151"/>
                  <a:gd name="connsiteY28" fmla="*/ 3030475 h 4966429"/>
                  <a:gd name="connsiteX29" fmla="*/ 2490249 w 5160151"/>
                  <a:gd name="connsiteY29" fmla="*/ 3039878 h 4966429"/>
                  <a:gd name="connsiteX30" fmla="*/ 2583691 w 5160151"/>
                  <a:gd name="connsiteY30" fmla="*/ 3101816 h 4966429"/>
                  <a:gd name="connsiteX31" fmla="*/ 2685101 w 5160151"/>
                  <a:gd name="connsiteY31" fmla="*/ 3000404 h 4966429"/>
                  <a:gd name="connsiteX32" fmla="*/ 2685101 w 5160151"/>
                  <a:gd name="connsiteY32" fmla="*/ 2174172 h 4966429"/>
                  <a:gd name="connsiteX33" fmla="*/ 2494702 w 5160151"/>
                  <a:gd name="connsiteY33" fmla="*/ 1983773 h 4966429"/>
                  <a:gd name="connsiteX34" fmla="*/ 2482279 w 5160151"/>
                  <a:gd name="connsiteY34" fmla="*/ 1983773 h 4966429"/>
                  <a:gd name="connsiteX35" fmla="*/ 2414122 w 5160151"/>
                  <a:gd name="connsiteY35" fmla="*/ 1983773 h 4966429"/>
                  <a:gd name="connsiteX36" fmla="*/ 1818626 w 5160151"/>
                  <a:gd name="connsiteY36" fmla="*/ 1983773 h 4966429"/>
                  <a:gd name="connsiteX37" fmla="*/ 1750470 w 5160151"/>
                  <a:gd name="connsiteY37" fmla="*/ 1983773 h 4966429"/>
                  <a:gd name="connsiteX38" fmla="*/ 1738046 w 5160151"/>
                  <a:gd name="connsiteY38" fmla="*/ 1983773 h 4966429"/>
                  <a:gd name="connsiteX39" fmla="*/ 3447685 w 5160151"/>
                  <a:gd name="connsiteY39" fmla="*/ 1970397 h 4966429"/>
                  <a:gd name="connsiteX40" fmla="*/ 3390674 w 5160151"/>
                  <a:gd name="connsiteY40" fmla="*/ 1981908 h 4966429"/>
                  <a:gd name="connsiteX41" fmla="*/ 3312724 w 5160151"/>
                  <a:gd name="connsiteY41" fmla="*/ 2059859 h 4966429"/>
                  <a:gd name="connsiteX42" fmla="*/ 3291452 w 5160151"/>
                  <a:gd name="connsiteY42" fmla="*/ 2115737 h 4966429"/>
                  <a:gd name="connsiteX43" fmla="*/ 3081463 w 5160151"/>
                  <a:gd name="connsiteY43" fmla="*/ 2914838 h 4966429"/>
                  <a:gd name="connsiteX44" fmla="*/ 3153771 w 5160151"/>
                  <a:gd name="connsiteY44" fmla="*/ 3038693 h 4966429"/>
                  <a:gd name="connsiteX45" fmla="*/ 3259885 w 5160151"/>
                  <a:gd name="connsiteY45" fmla="*/ 3002537 h 4966429"/>
                  <a:gd name="connsiteX46" fmla="*/ 3264109 w 5160151"/>
                  <a:gd name="connsiteY46" fmla="*/ 2993926 h 4966429"/>
                  <a:gd name="connsiteX47" fmla="*/ 3263963 w 5160151"/>
                  <a:gd name="connsiteY47" fmla="*/ 2992853 h 4966429"/>
                  <a:gd name="connsiteX48" fmla="*/ 3446311 w 5160151"/>
                  <a:gd name="connsiteY48" fmla="*/ 2298940 h 4966429"/>
                  <a:gd name="connsiteX49" fmla="*/ 3447685 w 5160151"/>
                  <a:gd name="connsiteY49" fmla="*/ 2297130 h 4966429"/>
                  <a:gd name="connsiteX50" fmla="*/ 3447685 w 5160151"/>
                  <a:gd name="connsiteY50" fmla="*/ 2545379 h 4966429"/>
                  <a:gd name="connsiteX51" fmla="*/ 3226762 w 5160151"/>
                  <a:gd name="connsiteY51" fmla="*/ 3349058 h 4966429"/>
                  <a:gd name="connsiteX52" fmla="*/ 3447688 w 5160151"/>
                  <a:gd name="connsiteY52" fmla="*/ 3349058 h 4966429"/>
                  <a:gd name="connsiteX53" fmla="*/ 3447688 w 5160151"/>
                  <a:gd name="connsiteY53" fmla="*/ 4116659 h 4966429"/>
                  <a:gd name="connsiteX54" fmla="*/ 3579522 w 5160151"/>
                  <a:gd name="connsiteY54" fmla="*/ 4248494 h 4966429"/>
                  <a:gd name="connsiteX55" fmla="*/ 3711357 w 5160151"/>
                  <a:gd name="connsiteY55" fmla="*/ 4116659 h 4966429"/>
                  <a:gd name="connsiteX56" fmla="*/ 3711357 w 5160151"/>
                  <a:gd name="connsiteY56" fmla="*/ 3349058 h 4966429"/>
                  <a:gd name="connsiteX57" fmla="*/ 3779514 w 5160151"/>
                  <a:gd name="connsiteY57" fmla="*/ 3349058 h 4966429"/>
                  <a:gd name="connsiteX58" fmla="*/ 3779514 w 5160151"/>
                  <a:gd name="connsiteY58" fmla="*/ 4116659 h 4966429"/>
                  <a:gd name="connsiteX59" fmla="*/ 3911348 w 5160151"/>
                  <a:gd name="connsiteY59" fmla="*/ 4248494 h 4966429"/>
                  <a:gd name="connsiteX60" fmla="*/ 4043183 w 5160151"/>
                  <a:gd name="connsiteY60" fmla="*/ 4116659 h 4966429"/>
                  <a:gd name="connsiteX61" fmla="*/ 4043183 w 5160151"/>
                  <a:gd name="connsiteY61" fmla="*/ 3349058 h 4966429"/>
                  <a:gd name="connsiteX62" fmla="*/ 4259136 w 5160151"/>
                  <a:gd name="connsiteY62" fmla="*/ 3349058 h 4966429"/>
                  <a:gd name="connsiteX63" fmla="*/ 4043181 w 5160151"/>
                  <a:gd name="connsiteY63" fmla="*/ 2563454 h 4966429"/>
                  <a:gd name="connsiteX64" fmla="*/ 4043181 w 5160151"/>
                  <a:gd name="connsiteY64" fmla="*/ 2327716 h 4966429"/>
                  <a:gd name="connsiteX65" fmla="*/ 4229762 w 5160151"/>
                  <a:gd name="connsiteY65" fmla="*/ 2986837 h 4966429"/>
                  <a:gd name="connsiteX66" fmla="*/ 4229640 w 5160151"/>
                  <a:gd name="connsiteY66" fmla="*/ 2987910 h 4966429"/>
                  <a:gd name="connsiteX67" fmla="*/ 4234016 w 5160151"/>
                  <a:gd name="connsiteY67" fmla="*/ 2996444 h 4966429"/>
                  <a:gd name="connsiteX68" fmla="*/ 4340234 w 5160151"/>
                  <a:gd name="connsiteY68" fmla="*/ 3030749 h 4966429"/>
                  <a:gd name="connsiteX69" fmla="*/ 4409583 w 5160151"/>
                  <a:gd name="connsiteY69" fmla="*/ 2905721 h 4966429"/>
                  <a:gd name="connsiteX70" fmla="*/ 4163825 w 5160151"/>
                  <a:gd name="connsiteY70" fmla="*/ 2059859 h 4966429"/>
                  <a:gd name="connsiteX71" fmla="*/ 4085875 w 5160151"/>
                  <a:gd name="connsiteY71" fmla="*/ 1981908 h 4966429"/>
                  <a:gd name="connsiteX72" fmla="*/ 4043181 w 5160151"/>
                  <a:gd name="connsiteY72" fmla="*/ 1970397 h 4966429"/>
                  <a:gd name="connsiteX73" fmla="*/ 4028858 w 5160151"/>
                  <a:gd name="connsiteY73" fmla="*/ 1970397 h 4966429"/>
                  <a:gd name="connsiteX74" fmla="*/ 3447688 w 5160151"/>
                  <a:gd name="connsiteY74" fmla="*/ 1970397 h 4966429"/>
                  <a:gd name="connsiteX75" fmla="*/ 3447685 w 5160151"/>
                  <a:gd name="connsiteY75" fmla="*/ 1970397 h 4966429"/>
                  <a:gd name="connsiteX76" fmla="*/ 2105608 w 5160151"/>
                  <a:gd name="connsiteY76" fmla="*/ 1396995 h 4966429"/>
                  <a:gd name="connsiteX77" fmla="*/ 1833918 w 5160151"/>
                  <a:gd name="connsiteY77" fmla="*/ 1668685 h 4966429"/>
                  <a:gd name="connsiteX78" fmla="*/ 2105608 w 5160151"/>
                  <a:gd name="connsiteY78" fmla="*/ 1940375 h 4966429"/>
                  <a:gd name="connsiteX79" fmla="*/ 2377297 w 5160151"/>
                  <a:gd name="connsiteY79" fmla="*/ 1668685 h 4966429"/>
                  <a:gd name="connsiteX80" fmla="*/ 2105608 w 5160151"/>
                  <a:gd name="connsiteY80" fmla="*/ 1396995 h 4966429"/>
                  <a:gd name="connsiteX81" fmla="*/ 3734668 w 5160151"/>
                  <a:gd name="connsiteY81" fmla="*/ 1383618 h 4966429"/>
                  <a:gd name="connsiteX82" fmla="*/ 3462979 w 5160151"/>
                  <a:gd name="connsiteY82" fmla="*/ 1655308 h 4966429"/>
                  <a:gd name="connsiteX83" fmla="*/ 3734668 w 5160151"/>
                  <a:gd name="connsiteY83" fmla="*/ 1926998 h 4966429"/>
                  <a:gd name="connsiteX84" fmla="*/ 4006358 w 5160151"/>
                  <a:gd name="connsiteY84" fmla="*/ 1655308 h 4966429"/>
                  <a:gd name="connsiteX85" fmla="*/ 3734668 w 5160151"/>
                  <a:gd name="connsiteY85" fmla="*/ 1383618 h 4966429"/>
                  <a:gd name="connsiteX86" fmla="*/ 0 w 5160151"/>
                  <a:gd name="connsiteY86" fmla="*/ 560997 h 4966429"/>
                  <a:gd name="connsiteX87" fmla="*/ 5067408 w 5160151"/>
                  <a:gd name="connsiteY87" fmla="*/ 515524 h 4966429"/>
                  <a:gd name="connsiteX88" fmla="*/ 5105299 w 5160151"/>
                  <a:gd name="connsiteY88" fmla="*/ 0 h 4966429"/>
                  <a:gd name="connsiteX89" fmla="*/ 5105299 w 5160151"/>
                  <a:gd name="connsiteY89" fmla="*/ 193253 h 4966429"/>
                  <a:gd name="connsiteX90" fmla="*/ 5105299 w 5160151"/>
                  <a:gd name="connsiteY90" fmla="*/ 4950247 h 4966429"/>
                  <a:gd name="connsiteX91" fmla="*/ 5125832 w 5160151"/>
                  <a:gd name="connsiteY91" fmla="*/ 4963618 h 4966429"/>
                  <a:gd name="connsiteX92" fmla="*/ 5064232 w 5160151"/>
                  <a:gd name="connsiteY92" fmla="*/ 4966429 h 4966429"/>
                  <a:gd name="connsiteX93" fmla="*/ 5160151 w 5160151"/>
                  <a:gd name="connsiteY93" fmla="*/ 4966429 h 4966429"/>
                  <a:gd name="connsiteX94" fmla="*/ 41070 w 5160151"/>
                  <a:gd name="connsiteY94" fmla="*/ 4950248 h 4966429"/>
                  <a:gd name="connsiteX95" fmla="*/ 53701 w 5160151"/>
                  <a:gd name="connsiteY95" fmla="*/ 4950248 h 4966429"/>
                  <a:gd name="connsiteX96" fmla="*/ 28439 w 5160151"/>
                  <a:gd name="connsiteY96" fmla="*/ 4692144 h 4966429"/>
                  <a:gd name="connsiteX97" fmla="*/ 41068 w 5160151"/>
                  <a:gd name="connsiteY97" fmla="*/ 4651370 h 4966429"/>
                  <a:gd name="connsiteX98" fmla="*/ 0 w 5160151"/>
                  <a:gd name="connsiteY98" fmla="*/ 560997 h 4966429"/>
                  <a:gd name="connsiteX0" fmla="*/ 1738046 w 5160151"/>
                  <a:gd name="connsiteY0" fmla="*/ 1790520 h 4773176"/>
                  <a:gd name="connsiteX1" fmla="*/ 1547647 w 5160151"/>
                  <a:gd name="connsiteY1" fmla="*/ 1980919 h 4773176"/>
                  <a:gd name="connsiteX2" fmla="*/ 1547647 w 5160151"/>
                  <a:gd name="connsiteY2" fmla="*/ 2807151 h 4773176"/>
                  <a:gd name="connsiteX3" fmla="*/ 1649059 w 5160151"/>
                  <a:gd name="connsiteY3" fmla="*/ 2908563 h 4773176"/>
                  <a:gd name="connsiteX4" fmla="*/ 1742500 w 5160151"/>
                  <a:gd name="connsiteY4" fmla="*/ 2846625 h 4773176"/>
                  <a:gd name="connsiteX5" fmla="*/ 1744399 w 5160151"/>
                  <a:gd name="connsiteY5" fmla="*/ 2837222 h 4773176"/>
                  <a:gd name="connsiteX6" fmla="*/ 1743985 w 5160151"/>
                  <a:gd name="connsiteY6" fmla="*/ 2836222 h 4773176"/>
                  <a:gd name="connsiteX7" fmla="*/ 1743985 w 5160151"/>
                  <a:gd name="connsiteY7" fmla="*/ 2118749 h 4773176"/>
                  <a:gd name="connsiteX8" fmla="*/ 1784548 w 5160151"/>
                  <a:gd name="connsiteY8" fmla="*/ 2078185 h 4773176"/>
                  <a:gd name="connsiteX9" fmla="*/ 1813232 w 5160151"/>
                  <a:gd name="connsiteY9" fmla="*/ 2090067 h 4773176"/>
                  <a:gd name="connsiteX10" fmla="*/ 1818626 w 5160151"/>
                  <a:gd name="connsiteY10" fmla="*/ 2103090 h 4773176"/>
                  <a:gd name="connsiteX11" fmla="*/ 1818626 w 5160151"/>
                  <a:gd name="connsiteY11" fmla="*/ 2603249 h 4773176"/>
                  <a:gd name="connsiteX12" fmla="*/ 1818626 w 5160151"/>
                  <a:gd name="connsiteY12" fmla="*/ 2908563 h 4773176"/>
                  <a:gd name="connsiteX13" fmla="*/ 1818626 w 5160151"/>
                  <a:gd name="connsiteY13" fmla="*/ 3936783 h 4773176"/>
                  <a:gd name="connsiteX14" fmla="*/ 1950461 w 5160151"/>
                  <a:gd name="connsiteY14" fmla="*/ 4068618 h 4773176"/>
                  <a:gd name="connsiteX15" fmla="*/ 2082295 w 5160151"/>
                  <a:gd name="connsiteY15" fmla="*/ 3936783 h 4773176"/>
                  <a:gd name="connsiteX16" fmla="*/ 2082295 w 5160151"/>
                  <a:gd name="connsiteY16" fmla="*/ 2908563 h 4773176"/>
                  <a:gd name="connsiteX17" fmla="*/ 2150453 w 5160151"/>
                  <a:gd name="connsiteY17" fmla="*/ 2908563 h 4773176"/>
                  <a:gd name="connsiteX18" fmla="*/ 2150453 w 5160151"/>
                  <a:gd name="connsiteY18" fmla="*/ 3936783 h 4773176"/>
                  <a:gd name="connsiteX19" fmla="*/ 2282287 w 5160151"/>
                  <a:gd name="connsiteY19" fmla="*/ 4068618 h 4773176"/>
                  <a:gd name="connsiteX20" fmla="*/ 2414122 w 5160151"/>
                  <a:gd name="connsiteY20" fmla="*/ 3936783 h 4773176"/>
                  <a:gd name="connsiteX21" fmla="*/ 2414122 w 5160151"/>
                  <a:gd name="connsiteY21" fmla="*/ 2908563 h 4773176"/>
                  <a:gd name="connsiteX22" fmla="*/ 2414122 w 5160151"/>
                  <a:gd name="connsiteY22" fmla="*/ 2603249 h 4773176"/>
                  <a:gd name="connsiteX23" fmla="*/ 2414122 w 5160151"/>
                  <a:gd name="connsiteY23" fmla="*/ 2103092 h 4773176"/>
                  <a:gd name="connsiteX24" fmla="*/ 2419518 w 5160151"/>
                  <a:gd name="connsiteY24" fmla="*/ 2090067 h 4773176"/>
                  <a:gd name="connsiteX25" fmla="*/ 2448200 w 5160151"/>
                  <a:gd name="connsiteY25" fmla="*/ 2078185 h 4773176"/>
                  <a:gd name="connsiteX26" fmla="*/ 2488765 w 5160151"/>
                  <a:gd name="connsiteY26" fmla="*/ 2118749 h 4773176"/>
                  <a:gd name="connsiteX27" fmla="*/ 2488765 w 5160151"/>
                  <a:gd name="connsiteY27" fmla="*/ 2836222 h 4773176"/>
                  <a:gd name="connsiteX28" fmla="*/ 2488350 w 5160151"/>
                  <a:gd name="connsiteY28" fmla="*/ 2837222 h 4773176"/>
                  <a:gd name="connsiteX29" fmla="*/ 2490249 w 5160151"/>
                  <a:gd name="connsiteY29" fmla="*/ 2846625 h 4773176"/>
                  <a:gd name="connsiteX30" fmla="*/ 2583691 w 5160151"/>
                  <a:gd name="connsiteY30" fmla="*/ 2908563 h 4773176"/>
                  <a:gd name="connsiteX31" fmla="*/ 2685101 w 5160151"/>
                  <a:gd name="connsiteY31" fmla="*/ 2807151 h 4773176"/>
                  <a:gd name="connsiteX32" fmla="*/ 2685101 w 5160151"/>
                  <a:gd name="connsiteY32" fmla="*/ 1980919 h 4773176"/>
                  <a:gd name="connsiteX33" fmla="*/ 2494702 w 5160151"/>
                  <a:gd name="connsiteY33" fmla="*/ 1790520 h 4773176"/>
                  <a:gd name="connsiteX34" fmla="*/ 2482279 w 5160151"/>
                  <a:gd name="connsiteY34" fmla="*/ 1790520 h 4773176"/>
                  <a:gd name="connsiteX35" fmla="*/ 2414122 w 5160151"/>
                  <a:gd name="connsiteY35" fmla="*/ 1790520 h 4773176"/>
                  <a:gd name="connsiteX36" fmla="*/ 1818626 w 5160151"/>
                  <a:gd name="connsiteY36" fmla="*/ 1790520 h 4773176"/>
                  <a:gd name="connsiteX37" fmla="*/ 1750470 w 5160151"/>
                  <a:gd name="connsiteY37" fmla="*/ 1790520 h 4773176"/>
                  <a:gd name="connsiteX38" fmla="*/ 1738046 w 5160151"/>
                  <a:gd name="connsiteY38" fmla="*/ 1790520 h 4773176"/>
                  <a:gd name="connsiteX39" fmla="*/ 3447685 w 5160151"/>
                  <a:gd name="connsiteY39" fmla="*/ 1777144 h 4773176"/>
                  <a:gd name="connsiteX40" fmla="*/ 3390674 w 5160151"/>
                  <a:gd name="connsiteY40" fmla="*/ 1788655 h 4773176"/>
                  <a:gd name="connsiteX41" fmla="*/ 3312724 w 5160151"/>
                  <a:gd name="connsiteY41" fmla="*/ 1866606 h 4773176"/>
                  <a:gd name="connsiteX42" fmla="*/ 3291452 w 5160151"/>
                  <a:gd name="connsiteY42" fmla="*/ 1922484 h 4773176"/>
                  <a:gd name="connsiteX43" fmla="*/ 3081463 w 5160151"/>
                  <a:gd name="connsiteY43" fmla="*/ 2721585 h 4773176"/>
                  <a:gd name="connsiteX44" fmla="*/ 3153771 w 5160151"/>
                  <a:gd name="connsiteY44" fmla="*/ 2845440 h 4773176"/>
                  <a:gd name="connsiteX45" fmla="*/ 3259885 w 5160151"/>
                  <a:gd name="connsiteY45" fmla="*/ 2809284 h 4773176"/>
                  <a:gd name="connsiteX46" fmla="*/ 3264109 w 5160151"/>
                  <a:gd name="connsiteY46" fmla="*/ 2800673 h 4773176"/>
                  <a:gd name="connsiteX47" fmla="*/ 3263963 w 5160151"/>
                  <a:gd name="connsiteY47" fmla="*/ 2799600 h 4773176"/>
                  <a:gd name="connsiteX48" fmla="*/ 3446311 w 5160151"/>
                  <a:gd name="connsiteY48" fmla="*/ 2105687 h 4773176"/>
                  <a:gd name="connsiteX49" fmla="*/ 3447685 w 5160151"/>
                  <a:gd name="connsiteY49" fmla="*/ 2103877 h 4773176"/>
                  <a:gd name="connsiteX50" fmla="*/ 3447685 w 5160151"/>
                  <a:gd name="connsiteY50" fmla="*/ 2352126 h 4773176"/>
                  <a:gd name="connsiteX51" fmla="*/ 3226762 w 5160151"/>
                  <a:gd name="connsiteY51" fmla="*/ 3155805 h 4773176"/>
                  <a:gd name="connsiteX52" fmla="*/ 3447688 w 5160151"/>
                  <a:gd name="connsiteY52" fmla="*/ 3155805 h 4773176"/>
                  <a:gd name="connsiteX53" fmla="*/ 3447688 w 5160151"/>
                  <a:gd name="connsiteY53" fmla="*/ 3923406 h 4773176"/>
                  <a:gd name="connsiteX54" fmla="*/ 3579522 w 5160151"/>
                  <a:gd name="connsiteY54" fmla="*/ 4055241 h 4773176"/>
                  <a:gd name="connsiteX55" fmla="*/ 3711357 w 5160151"/>
                  <a:gd name="connsiteY55" fmla="*/ 3923406 h 4773176"/>
                  <a:gd name="connsiteX56" fmla="*/ 3711357 w 5160151"/>
                  <a:gd name="connsiteY56" fmla="*/ 3155805 h 4773176"/>
                  <a:gd name="connsiteX57" fmla="*/ 3779514 w 5160151"/>
                  <a:gd name="connsiteY57" fmla="*/ 3155805 h 4773176"/>
                  <a:gd name="connsiteX58" fmla="*/ 3779514 w 5160151"/>
                  <a:gd name="connsiteY58" fmla="*/ 3923406 h 4773176"/>
                  <a:gd name="connsiteX59" fmla="*/ 3911348 w 5160151"/>
                  <a:gd name="connsiteY59" fmla="*/ 4055241 h 4773176"/>
                  <a:gd name="connsiteX60" fmla="*/ 4043183 w 5160151"/>
                  <a:gd name="connsiteY60" fmla="*/ 3923406 h 4773176"/>
                  <a:gd name="connsiteX61" fmla="*/ 4043183 w 5160151"/>
                  <a:gd name="connsiteY61" fmla="*/ 3155805 h 4773176"/>
                  <a:gd name="connsiteX62" fmla="*/ 4259136 w 5160151"/>
                  <a:gd name="connsiteY62" fmla="*/ 3155805 h 4773176"/>
                  <a:gd name="connsiteX63" fmla="*/ 4043181 w 5160151"/>
                  <a:gd name="connsiteY63" fmla="*/ 2370201 h 4773176"/>
                  <a:gd name="connsiteX64" fmla="*/ 4043181 w 5160151"/>
                  <a:gd name="connsiteY64" fmla="*/ 2134463 h 4773176"/>
                  <a:gd name="connsiteX65" fmla="*/ 4229762 w 5160151"/>
                  <a:gd name="connsiteY65" fmla="*/ 2793584 h 4773176"/>
                  <a:gd name="connsiteX66" fmla="*/ 4229640 w 5160151"/>
                  <a:gd name="connsiteY66" fmla="*/ 2794657 h 4773176"/>
                  <a:gd name="connsiteX67" fmla="*/ 4234016 w 5160151"/>
                  <a:gd name="connsiteY67" fmla="*/ 2803191 h 4773176"/>
                  <a:gd name="connsiteX68" fmla="*/ 4340234 w 5160151"/>
                  <a:gd name="connsiteY68" fmla="*/ 2837496 h 4773176"/>
                  <a:gd name="connsiteX69" fmla="*/ 4409583 w 5160151"/>
                  <a:gd name="connsiteY69" fmla="*/ 2712468 h 4773176"/>
                  <a:gd name="connsiteX70" fmla="*/ 4163825 w 5160151"/>
                  <a:gd name="connsiteY70" fmla="*/ 1866606 h 4773176"/>
                  <a:gd name="connsiteX71" fmla="*/ 4085875 w 5160151"/>
                  <a:gd name="connsiteY71" fmla="*/ 1788655 h 4773176"/>
                  <a:gd name="connsiteX72" fmla="*/ 4043181 w 5160151"/>
                  <a:gd name="connsiteY72" fmla="*/ 1777144 h 4773176"/>
                  <a:gd name="connsiteX73" fmla="*/ 4028858 w 5160151"/>
                  <a:gd name="connsiteY73" fmla="*/ 1777144 h 4773176"/>
                  <a:gd name="connsiteX74" fmla="*/ 3447688 w 5160151"/>
                  <a:gd name="connsiteY74" fmla="*/ 1777144 h 4773176"/>
                  <a:gd name="connsiteX75" fmla="*/ 3447685 w 5160151"/>
                  <a:gd name="connsiteY75" fmla="*/ 1777144 h 4773176"/>
                  <a:gd name="connsiteX76" fmla="*/ 2105608 w 5160151"/>
                  <a:gd name="connsiteY76" fmla="*/ 1203742 h 4773176"/>
                  <a:gd name="connsiteX77" fmla="*/ 1833918 w 5160151"/>
                  <a:gd name="connsiteY77" fmla="*/ 1475432 h 4773176"/>
                  <a:gd name="connsiteX78" fmla="*/ 2105608 w 5160151"/>
                  <a:gd name="connsiteY78" fmla="*/ 1747122 h 4773176"/>
                  <a:gd name="connsiteX79" fmla="*/ 2377297 w 5160151"/>
                  <a:gd name="connsiteY79" fmla="*/ 1475432 h 4773176"/>
                  <a:gd name="connsiteX80" fmla="*/ 2105608 w 5160151"/>
                  <a:gd name="connsiteY80" fmla="*/ 1203742 h 4773176"/>
                  <a:gd name="connsiteX81" fmla="*/ 3734668 w 5160151"/>
                  <a:gd name="connsiteY81" fmla="*/ 1190365 h 4773176"/>
                  <a:gd name="connsiteX82" fmla="*/ 3462979 w 5160151"/>
                  <a:gd name="connsiteY82" fmla="*/ 1462055 h 4773176"/>
                  <a:gd name="connsiteX83" fmla="*/ 3734668 w 5160151"/>
                  <a:gd name="connsiteY83" fmla="*/ 1733745 h 4773176"/>
                  <a:gd name="connsiteX84" fmla="*/ 4006358 w 5160151"/>
                  <a:gd name="connsiteY84" fmla="*/ 1462055 h 4773176"/>
                  <a:gd name="connsiteX85" fmla="*/ 3734668 w 5160151"/>
                  <a:gd name="connsiteY85" fmla="*/ 1190365 h 4773176"/>
                  <a:gd name="connsiteX86" fmla="*/ 0 w 5160151"/>
                  <a:gd name="connsiteY86" fmla="*/ 367744 h 4773176"/>
                  <a:gd name="connsiteX87" fmla="*/ 5067408 w 5160151"/>
                  <a:gd name="connsiteY87" fmla="*/ 322271 h 4773176"/>
                  <a:gd name="connsiteX88" fmla="*/ 5067406 w 5160151"/>
                  <a:gd name="connsiteY88" fmla="*/ 486338 h 4773176"/>
                  <a:gd name="connsiteX89" fmla="*/ 5105299 w 5160151"/>
                  <a:gd name="connsiteY89" fmla="*/ 0 h 4773176"/>
                  <a:gd name="connsiteX90" fmla="*/ 5105299 w 5160151"/>
                  <a:gd name="connsiteY90" fmla="*/ 4756994 h 4773176"/>
                  <a:gd name="connsiteX91" fmla="*/ 5125832 w 5160151"/>
                  <a:gd name="connsiteY91" fmla="*/ 4770365 h 4773176"/>
                  <a:gd name="connsiteX92" fmla="*/ 5064232 w 5160151"/>
                  <a:gd name="connsiteY92" fmla="*/ 4773176 h 4773176"/>
                  <a:gd name="connsiteX93" fmla="*/ 5160151 w 5160151"/>
                  <a:gd name="connsiteY93" fmla="*/ 4773176 h 4773176"/>
                  <a:gd name="connsiteX94" fmla="*/ 41070 w 5160151"/>
                  <a:gd name="connsiteY94" fmla="*/ 4756995 h 4773176"/>
                  <a:gd name="connsiteX95" fmla="*/ 53701 w 5160151"/>
                  <a:gd name="connsiteY95" fmla="*/ 4756995 h 4773176"/>
                  <a:gd name="connsiteX96" fmla="*/ 28439 w 5160151"/>
                  <a:gd name="connsiteY96" fmla="*/ 4498891 h 4773176"/>
                  <a:gd name="connsiteX97" fmla="*/ 41068 w 5160151"/>
                  <a:gd name="connsiteY97" fmla="*/ 4458117 h 4773176"/>
                  <a:gd name="connsiteX98" fmla="*/ 0 w 5160151"/>
                  <a:gd name="connsiteY98" fmla="*/ 367744 h 4773176"/>
                  <a:gd name="connsiteX0" fmla="*/ 1738046 w 5160151"/>
                  <a:gd name="connsiteY0" fmla="*/ 1491499 h 4474155"/>
                  <a:gd name="connsiteX1" fmla="*/ 1547647 w 5160151"/>
                  <a:gd name="connsiteY1" fmla="*/ 1681898 h 4474155"/>
                  <a:gd name="connsiteX2" fmla="*/ 1547647 w 5160151"/>
                  <a:gd name="connsiteY2" fmla="*/ 2508130 h 4474155"/>
                  <a:gd name="connsiteX3" fmla="*/ 1649059 w 5160151"/>
                  <a:gd name="connsiteY3" fmla="*/ 2609542 h 4474155"/>
                  <a:gd name="connsiteX4" fmla="*/ 1742500 w 5160151"/>
                  <a:gd name="connsiteY4" fmla="*/ 2547604 h 4474155"/>
                  <a:gd name="connsiteX5" fmla="*/ 1744399 w 5160151"/>
                  <a:gd name="connsiteY5" fmla="*/ 2538201 h 4474155"/>
                  <a:gd name="connsiteX6" fmla="*/ 1743985 w 5160151"/>
                  <a:gd name="connsiteY6" fmla="*/ 2537201 h 4474155"/>
                  <a:gd name="connsiteX7" fmla="*/ 1743985 w 5160151"/>
                  <a:gd name="connsiteY7" fmla="*/ 1819728 h 4474155"/>
                  <a:gd name="connsiteX8" fmla="*/ 1784548 w 5160151"/>
                  <a:gd name="connsiteY8" fmla="*/ 1779164 h 4474155"/>
                  <a:gd name="connsiteX9" fmla="*/ 1813232 w 5160151"/>
                  <a:gd name="connsiteY9" fmla="*/ 1791046 h 4474155"/>
                  <a:gd name="connsiteX10" fmla="*/ 1818626 w 5160151"/>
                  <a:gd name="connsiteY10" fmla="*/ 1804069 h 4474155"/>
                  <a:gd name="connsiteX11" fmla="*/ 1818626 w 5160151"/>
                  <a:gd name="connsiteY11" fmla="*/ 2304228 h 4474155"/>
                  <a:gd name="connsiteX12" fmla="*/ 1818626 w 5160151"/>
                  <a:gd name="connsiteY12" fmla="*/ 2609542 h 4474155"/>
                  <a:gd name="connsiteX13" fmla="*/ 1818626 w 5160151"/>
                  <a:gd name="connsiteY13" fmla="*/ 3637762 h 4474155"/>
                  <a:gd name="connsiteX14" fmla="*/ 1950461 w 5160151"/>
                  <a:gd name="connsiteY14" fmla="*/ 3769597 h 4474155"/>
                  <a:gd name="connsiteX15" fmla="*/ 2082295 w 5160151"/>
                  <a:gd name="connsiteY15" fmla="*/ 3637762 h 4474155"/>
                  <a:gd name="connsiteX16" fmla="*/ 2082295 w 5160151"/>
                  <a:gd name="connsiteY16" fmla="*/ 2609542 h 4474155"/>
                  <a:gd name="connsiteX17" fmla="*/ 2150453 w 5160151"/>
                  <a:gd name="connsiteY17" fmla="*/ 2609542 h 4474155"/>
                  <a:gd name="connsiteX18" fmla="*/ 2150453 w 5160151"/>
                  <a:gd name="connsiteY18" fmla="*/ 3637762 h 4474155"/>
                  <a:gd name="connsiteX19" fmla="*/ 2282287 w 5160151"/>
                  <a:gd name="connsiteY19" fmla="*/ 3769597 h 4474155"/>
                  <a:gd name="connsiteX20" fmla="*/ 2414122 w 5160151"/>
                  <a:gd name="connsiteY20" fmla="*/ 3637762 h 4474155"/>
                  <a:gd name="connsiteX21" fmla="*/ 2414122 w 5160151"/>
                  <a:gd name="connsiteY21" fmla="*/ 2609542 h 4474155"/>
                  <a:gd name="connsiteX22" fmla="*/ 2414122 w 5160151"/>
                  <a:gd name="connsiteY22" fmla="*/ 2304228 h 4474155"/>
                  <a:gd name="connsiteX23" fmla="*/ 2414122 w 5160151"/>
                  <a:gd name="connsiteY23" fmla="*/ 1804071 h 4474155"/>
                  <a:gd name="connsiteX24" fmla="*/ 2419518 w 5160151"/>
                  <a:gd name="connsiteY24" fmla="*/ 1791046 h 4474155"/>
                  <a:gd name="connsiteX25" fmla="*/ 2448200 w 5160151"/>
                  <a:gd name="connsiteY25" fmla="*/ 1779164 h 4474155"/>
                  <a:gd name="connsiteX26" fmla="*/ 2488765 w 5160151"/>
                  <a:gd name="connsiteY26" fmla="*/ 1819728 h 4474155"/>
                  <a:gd name="connsiteX27" fmla="*/ 2488765 w 5160151"/>
                  <a:gd name="connsiteY27" fmla="*/ 2537201 h 4474155"/>
                  <a:gd name="connsiteX28" fmla="*/ 2488350 w 5160151"/>
                  <a:gd name="connsiteY28" fmla="*/ 2538201 h 4474155"/>
                  <a:gd name="connsiteX29" fmla="*/ 2490249 w 5160151"/>
                  <a:gd name="connsiteY29" fmla="*/ 2547604 h 4474155"/>
                  <a:gd name="connsiteX30" fmla="*/ 2583691 w 5160151"/>
                  <a:gd name="connsiteY30" fmla="*/ 2609542 h 4474155"/>
                  <a:gd name="connsiteX31" fmla="*/ 2685101 w 5160151"/>
                  <a:gd name="connsiteY31" fmla="*/ 2508130 h 4474155"/>
                  <a:gd name="connsiteX32" fmla="*/ 2685101 w 5160151"/>
                  <a:gd name="connsiteY32" fmla="*/ 1681898 h 4474155"/>
                  <a:gd name="connsiteX33" fmla="*/ 2494702 w 5160151"/>
                  <a:gd name="connsiteY33" fmla="*/ 1491499 h 4474155"/>
                  <a:gd name="connsiteX34" fmla="*/ 2482279 w 5160151"/>
                  <a:gd name="connsiteY34" fmla="*/ 1491499 h 4474155"/>
                  <a:gd name="connsiteX35" fmla="*/ 2414122 w 5160151"/>
                  <a:gd name="connsiteY35" fmla="*/ 1491499 h 4474155"/>
                  <a:gd name="connsiteX36" fmla="*/ 1818626 w 5160151"/>
                  <a:gd name="connsiteY36" fmla="*/ 1491499 h 4474155"/>
                  <a:gd name="connsiteX37" fmla="*/ 1750470 w 5160151"/>
                  <a:gd name="connsiteY37" fmla="*/ 1491499 h 4474155"/>
                  <a:gd name="connsiteX38" fmla="*/ 1738046 w 5160151"/>
                  <a:gd name="connsiteY38" fmla="*/ 1491499 h 4474155"/>
                  <a:gd name="connsiteX39" fmla="*/ 3447685 w 5160151"/>
                  <a:gd name="connsiteY39" fmla="*/ 1478123 h 4474155"/>
                  <a:gd name="connsiteX40" fmla="*/ 3390674 w 5160151"/>
                  <a:gd name="connsiteY40" fmla="*/ 1489634 h 4474155"/>
                  <a:gd name="connsiteX41" fmla="*/ 3312724 w 5160151"/>
                  <a:gd name="connsiteY41" fmla="*/ 1567585 h 4474155"/>
                  <a:gd name="connsiteX42" fmla="*/ 3291452 w 5160151"/>
                  <a:gd name="connsiteY42" fmla="*/ 1623463 h 4474155"/>
                  <a:gd name="connsiteX43" fmla="*/ 3081463 w 5160151"/>
                  <a:gd name="connsiteY43" fmla="*/ 2422564 h 4474155"/>
                  <a:gd name="connsiteX44" fmla="*/ 3153771 w 5160151"/>
                  <a:gd name="connsiteY44" fmla="*/ 2546419 h 4474155"/>
                  <a:gd name="connsiteX45" fmla="*/ 3259885 w 5160151"/>
                  <a:gd name="connsiteY45" fmla="*/ 2510263 h 4474155"/>
                  <a:gd name="connsiteX46" fmla="*/ 3264109 w 5160151"/>
                  <a:gd name="connsiteY46" fmla="*/ 2501652 h 4474155"/>
                  <a:gd name="connsiteX47" fmla="*/ 3263963 w 5160151"/>
                  <a:gd name="connsiteY47" fmla="*/ 2500579 h 4474155"/>
                  <a:gd name="connsiteX48" fmla="*/ 3446311 w 5160151"/>
                  <a:gd name="connsiteY48" fmla="*/ 1806666 h 4474155"/>
                  <a:gd name="connsiteX49" fmla="*/ 3447685 w 5160151"/>
                  <a:gd name="connsiteY49" fmla="*/ 1804856 h 4474155"/>
                  <a:gd name="connsiteX50" fmla="*/ 3447685 w 5160151"/>
                  <a:gd name="connsiteY50" fmla="*/ 2053105 h 4474155"/>
                  <a:gd name="connsiteX51" fmla="*/ 3226762 w 5160151"/>
                  <a:gd name="connsiteY51" fmla="*/ 2856784 h 4474155"/>
                  <a:gd name="connsiteX52" fmla="*/ 3447688 w 5160151"/>
                  <a:gd name="connsiteY52" fmla="*/ 2856784 h 4474155"/>
                  <a:gd name="connsiteX53" fmla="*/ 3447688 w 5160151"/>
                  <a:gd name="connsiteY53" fmla="*/ 3624385 h 4474155"/>
                  <a:gd name="connsiteX54" fmla="*/ 3579522 w 5160151"/>
                  <a:gd name="connsiteY54" fmla="*/ 3756220 h 4474155"/>
                  <a:gd name="connsiteX55" fmla="*/ 3711357 w 5160151"/>
                  <a:gd name="connsiteY55" fmla="*/ 3624385 h 4474155"/>
                  <a:gd name="connsiteX56" fmla="*/ 3711357 w 5160151"/>
                  <a:gd name="connsiteY56" fmla="*/ 2856784 h 4474155"/>
                  <a:gd name="connsiteX57" fmla="*/ 3779514 w 5160151"/>
                  <a:gd name="connsiteY57" fmla="*/ 2856784 h 4474155"/>
                  <a:gd name="connsiteX58" fmla="*/ 3779514 w 5160151"/>
                  <a:gd name="connsiteY58" fmla="*/ 3624385 h 4474155"/>
                  <a:gd name="connsiteX59" fmla="*/ 3911348 w 5160151"/>
                  <a:gd name="connsiteY59" fmla="*/ 3756220 h 4474155"/>
                  <a:gd name="connsiteX60" fmla="*/ 4043183 w 5160151"/>
                  <a:gd name="connsiteY60" fmla="*/ 3624385 h 4474155"/>
                  <a:gd name="connsiteX61" fmla="*/ 4043183 w 5160151"/>
                  <a:gd name="connsiteY61" fmla="*/ 2856784 h 4474155"/>
                  <a:gd name="connsiteX62" fmla="*/ 4259136 w 5160151"/>
                  <a:gd name="connsiteY62" fmla="*/ 2856784 h 4474155"/>
                  <a:gd name="connsiteX63" fmla="*/ 4043181 w 5160151"/>
                  <a:gd name="connsiteY63" fmla="*/ 2071180 h 4474155"/>
                  <a:gd name="connsiteX64" fmla="*/ 4043181 w 5160151"/>
                  <a:gd name="connsiteY64" fmla="*/ 1835442 h 4474155"/>
                  <a:gd name="connsiteX65" fmla="*/ 4229762 w 5160151"/>
                  <a:gd name="connsiteY65" fmla="*/ 2494563 h 4474155"/>
                  <a:gd name="connsiteX66" fmla="*/ 4229640 w 5160151"/>
                  <a:gd name="connsiteY66" fmla="*/ 2495636 h 4474155"/>
                  <a:gd name="connsiteX67" fmla="*/ 4234016 w 5160151"/>
                  <a:gd name="connsiteY67" fmla="*/ 2504170 h 4474155"/>
                  <a:gd name="connsiteX68" fmla="*/ 4340234 w 5160151"/>
                  <a:gd name="connsiteY68" fmla="*/ 2538475 h 4474155"/>
                  <a:gd name="connsiteX69" fmla="*/ 4409583 w 5160151"/>
                  <a:gd name="connsiteY69" fmla="*/ 2413447 h 4474155"/>
                  <a:gd name="connsiteX70" fmla="*/ 4163825 w 5160151"/>
                  <a:gd name="connsiteY70" fmla="*/ 1567585 h 4474155"/>
                  <a:gd name="connsiteX71" fmla="*/ 4085875 w 5160151"/>
                  <a:gd name="connsiteY71" fmla="*/ 1489634 h 4474155"/>
                  <a:gd name="connsiteX72" fmla="*/ 4043181 w 5160151"/>
                  <a:gd name="connsiteY72" fmla="*/ 1478123 h 4474155"/>
                  <a:gd name="connsiteX73" fmla="*/ 4028858 w 5160151"/>
                  <a:gd name="connsiteY73" fmla="*/ 1478123 h 4474155"/>
                  <a:gd name="connsiteX74" fmla="*/ 3447688 w 5160151"/>
                  <a:gd name="connsiteY74" fmla="*/ 1478123 h 4474155"/>
                  <a:gd name="connsiteX75" fmla="*/ 3447685 w 5160151"/>
                  <a:gd name="connsiteY75" fmla="*/ 1478123 h 4474155"/>
                  <a:gd name="connsiteX76" fmla="*/ 2105608 w 5160151"/>
                  <a:gd name="connsiteY76" fmla="*/ 904721 h 4474155"/>
                  <a:gd name="connsiteX77" fmla="*/ 1833918 w 5160151"/>
                  <a:gd name="connsiteY77" fmla="*/ 1176411 h 4474155"/>
                  <a:gd name="connsiteX78" fmla="*/ 2105608 w 5160151"/>
                  <a:gd name="connsiteY78" fmla="*/ 1448101 h 4474155"/>
                  <a:gd name="connsiteX79" fmla="*/ 2377297 w 5160151"/>
                  <a:gd name="connsiteY79" fmla="*/ 1176411 h 4474155"/>
                  <a:gd name="connsiteX80" fmla="*/ 2105608 w 5160151"/>
                  <a:gd name="connsiteY80" fmla="*/ 904721 h 4474155"/>
                  <a:gd name="connsiteX81" fmla="*/ 3734668 w 5160151"/>
                  <a:gd name="connsiteY81" fmla="*/ 891344 h 4474155"/>
                  <a:gd name="connsiteX82" fmla="*/ 3462979 w 5160151"/>
                  <a:gd name="connsiteY82" fmla="*/ 1163034 h 4474155"/>
                  <a:gd name="connsiteX83" fmla="*/ 3734668 w 5160151"/>
                  <a:gd name="connsiteY83" fmla="*/ 1434724 h 4474155"/>
                  <a:gd name="connsiteX84" fmla="*/ 4006358 w 5160151"/>
                  <a:gd name="connsiteY84" fmla="*/ 1163034 h 4474155"/>
                  <a:gd name="connsiteX85" fmla="*/ 3734668 w 5160151"/>
                  <a:gd name="connsiteY85" fmla="*/ 891344 h 4474155"/>
                  <a:gd name="connsiteX86" fmla="*/ 0 w 5160151"/>
                  <a:gd name="connsiteY86" fmla="*/ 68723 h 4474155"/>
                  <a:gd name="connsiteX87" fmla="*/ 5067408 w 5160151"/>
                  <a:gd name="connsiteY87" fmla="*/ 23250 h 4474155"/>
                  <a:gd name="connsiteX88" fmla="*/ 5067406 w 5160151"/>
                  <a:gd name="connsiteY88" fmla="*/ 187317 h 4474155"/>
                  <a:gd name="connsiteX89" fmla="*/ 5080039 w 5160151"/>
                  <a:gd name="connsiteY89" fmla="*/ 0 h 4474155"/>
                  <a:gd name="connsiteX90" fmla="*/ 5105299 w 5160151"/>
                  <a:gd name="connsiteY90" fmla="*/ 4457973 h 4474155"/>
                  <a:gd name="connsiteX91" fmla="*/ 5125832 w 5160151"/>
                  <a:gd name="connsiteY91" fmla="*/ 4471344 h 4474155"/>
                  <a:gd name="connsiteX92" fmla="*/ 5064232 w 5160151"/>
                  <a:gd name="connsiteY92" fmla="*/ 4474155 h 4474155"/>
                  <a:gd name="connsiteX93" fmla="*/ 5160151 w 5160151"/>
                  <a:gd name="connsiteY93" fmla="*/ 4474155 h 4474155"/>
                  <a:gd name="connsiteX94" fmla="*/ 41070 w 5160151"/>
                  <a:gd name="connsiteY94" fmla="*/ 4457974 h 4474155"/>
                  <a:gd name="connsiteX95" fmla="*/ 53701 w 5160151"/>
                  <a:gd name="connsiteY95" fmla="*/ 4457974 h 4474155"/>
                  <a:gd name="connsiteX96" fmla="*/ 28439 w 5160151"/>
                  <a:gd name="connsiteY96" fmla="*/ 4199870 h 4474155"/>
                  <a:gd name="connsiteX97" fmla="*/ 41068 w 5160151"/>
                  <a:gd name="connsiteY97" fmla="*/ 4159096 h 4474155"/>
                  <a:gd name="connsiteX98" fmla="*/ 0 w 5160151"/>
                  <a:gd name="connsiteY98" fmla="*/ 68723 h 447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160151" h="4474155">
                    <a:moveTo>
                      <a:pt x="1738046" y="1491499"/>
                    </a:moveTo>
                    <a:cubicBezTo>
                      <a:pt x="1632891" y="1491499"/>
                      <a:pt x="1547647" y="1576743"/>
                      <a:pt x="1547647" y="1681898"/>
                    </a:cubicBezTo>
                    <a:lnTo>
                      <a:pt x="1547647" y="2508130"/>
                    </a:lnTo>
                    <a:cubicBezTo>
                      <a:pt x="1547647" y="2564137"/>
                      <a:pt x="1593051" y="2609542"/>
                      <a:pt x="1649059" y="2609542"/>
                    </a:cubicBezTo>
                    <a:cubicBezTo>
                      <a:pt x="1691064" y="2609542"/>
                      <a:pt x="1727106" y="2584003"/>
                      <a:pt x="1742500" y="2547604"/>
                    </a:cubicBezTo>
                    <a:lnTo>
                      <a:pt x="1744399" y="2538201"/>
                    </a:lnTo>
                    <a:lnTo>
                      <a:pt x="1743985" y="2537201"/>
                    </a:lnTo>
                    <a:lnTo>
                      <a:pt x="1743985" y="1819728"/>
                    </a:lnTo>
                    <a:cubicBezTo>
                      <a:pt x="1743985" y="1797325"/>
                      <a:pt x="1762147" y="1779164"/>
                      <a:pt x="1784548" y="1779164"/>
                    </a:cubicBezTo>
                    <a:cubicBezTo>
                      <a:pt x="1795749" y="1779164"/>
                      <a:pt x="1805890" y="1783705"/>
                      <a:pt x="1813232" y="1791046"/>
                    </a:cubicBezTo>
                    <a:lnTo>
                      <a:pt x="1818626" y="1804069"/>
                    </a:lnTo>
                    <a:lnTo>
                      <a:pt x="1818626" y="2304228"/>
                    </a:lnTo>
                    <a:lnTo>
                      <a:pt x="1818626" y="2609542"/>
                    </a:lnTo>
                    <a:lnTo>
                      <a:pt x="1818626" y="3637762"/>
                    </a:lnTo>
                    <a:cubicBezTo>
                      <a:pt x="1818626" y="3710573"/>
                      <a:pt x="1877650" y="3769597"/>
                      <a:pt x="1950461" y="3769597"/>
                    </a:cubicBezTo>
                    <a:cubicBezTo>
                      <a:pt x="2023272" y="3769597"/>
                      <a:pt x="2082295" y="3710573"/>
                      <a:pt x="2082295" y="3637762"/>
                    </a:cubicBezTo>
                    <a:lnTo>
                      <a:pt x="2082295" y="2609542"/>
                    </a:lnTo>
                    <a:lnTo>
                      <a:pt x="2150453" y="2609542"/>
                    </a:lnTo>
                    <a:lnTo>
                      <a:pt x="2150453" y="3637762"/>
                    </a:lnTo>
                    <a:cubicBezTo>
                      <a:pt x="2150453" y="3710573"/>
                      <a:pt x="2209476" y="3769597"/>
                      <a:pt x="2282287" y="3769597"/>
                    </a:cubicBezTo>
                    <a:cubicBezTo>
                      <a:pt x="2355099" y="3769597"/>
                      <a:pt x="2414122" y="3710573"/>
                      <a:pt x="2414122" y="3637762"/>
                    </a:cubicBezTo>
                    <a:lnTo>
                      <a:pt x="2414122" y="2609542"/>
                    </a:lnTo>
                    <a:lnTo>
                      <a:pt x="2414122" y="2304228"/>
                    </a:lnTo>
                    <a:lnTo>
                      <a:pt x="2414122" y="1804071"/>
                    </a:lnTo>
                    <a:lnTo>
                      <a:pt x="2419518" y="1791046"/>
                    </a:lnTo>
                    <a:cubicBezTo>
                      <a:pt x="2426858" y="1783705"/>
                      <a:pt x="2437000" y="1779164"/>
                      <a:pt x="2448200" y="1779164"/>
                    </a:cubicBezTo>
                    <a:cubicBezTo>
                      <a:pt x="2470603" y="1779164"/>
                      <a:pt x="2488765" y="1797325"/>
                      <a:pt x="2488765" y="1819728"/>
                    </a:cubicBezTo>
                    <a:lnTo>
                      <a:pt x="2488765" y="2537201"/>
                    </a:lnTo>
                    <a:lnTo>
                      <a:pt x="2488350" y="2538201"/>
                    </a:lnTo>
                    <a:lnTo>
                      <a:pt x="2490249" y="2547604"/>
                    </a:lnTo>
                    <a:cubicBezTo>
                      <a:pt x="2505644" y="2584003"/>
                      <a:pt x="2541686" y="2609542"/>
                      <a:pt x="2583691" y="2609542"/>
                    </a:cubicBezTo>
                    <a:cubicBezTo>
                      <a:pt x="2639697" y="2609542"/>
                      <a:pt x="2685101" y="2564137"/>
                      <a:pt x="2685101" y="2508130"/>
                    </a:cubicBezTo>
                    <a:lnTo>
                      <a:pt x="2685101" y="1681898"/>
                    </a:lnTo>
                    <a:cubicBezTo>
                      <a:pt x="2685101" y="1576743"/>
                      <a:pt x="2599858" y="1491499"/>
                      <a:pt x="2494702" y="1491499"/>
                    </a:cubicBezTo>
                    <a:lnTo>
                      <a:pt x="2482279" y="1491499"/>
                    </a:lnTo>
                    <a:lnTo>
                      <a:pt x="2414122" y="1491499"/>
                    </a:lnTo>
                    <a:lnTo>
                      <a:pt x="1818626" y="1491499"/>
                    </a:lnTo>
                    <a:lnTo>
                      <a:pt x="1750470" y="1491499"/>
                    </a:lnTo>
                    <a:lnTo>
                      <a:pt x="1738046" y="1491499"/>
                    </a:lnTo>
                    <a:close/>
                    <a:moveTo>
                      <a:pt x="3447685" y="1478123"/>
                    </a:moveTo>
                    <a:lnTo>
                      <a:pt x="3390674" y="1489634"/>
                    </a:lnTo>
                    <a:cubicBezTo>
                      <a:pt x="3355626" y="1504458"/>
                      <a:pt x="3327547" y="1532536"/>
                      <a:pt x="3312724" y="1567585"/>
                    </a:cubicBezTo>
                    <a:lnTo>
                      <a:pt x="3291452" y="1623463"/>
                    </a:lnTo>
                    <a:lnTo>
                      <a:pt x="3081463" y="2422564"/>
                    </a:lnTo>
                    <a:cubicBezTo>
                      <a:pt x="3067228" y="2476732"/>
                      <a:pt x="3099603" y="2532186"/>
                      <a:pt x="3153771" y="2546419"/>
                    </a:cubicBezTo>
                    <a:cubicBezTo>
                      <a:pt x="3194398" y="2557095"/>
                      <a:pt x="3235745" y="2541556"/>
                      <a:pt x="3259885" y="2510263"/>
                    </a:cubicBezTo>
                    <a:lnTo>
                      <a:pt x="3264109" y="2501652"/>
                    </a:lnTo>
                    <a:cubicBezTo>
                      <a:pt x="3264061" y="2501295"/>
                      <a:pt x="3264012" y="2500936"/>
                      <a:pt x="3263963" y="2500579"/>
                    </a:cubicBezTo>
                    <a:lnTo>
                      <a:pt x="3446311" y="1806666"/>
                    </a:lnTo>
                    <a:lnTo>
                      <a:pt x="3447685" y="1804856"/>
                    </a:lnTo>
                    <a:lnTo>
                      <a:pt x="3447685" y="2053105"/>
                    </a:lnTo>
                    <a:lnTo>
                      <a:pt x="3226762" y="2856784"/>
                    </a:lnTo>
                    <a:lnTo>
                      <a:pt x="3447688" y="2856784"/>
                    </a:lnTo>
                    <a:lnTo>
                      <a:pt x="3447688" y="3624385"/>
                    </a:lnTo>
                    <a:cubicBezTo>
                      <a:pt x="3447688" y="3697196"/>
                      <a:pt x="3506711" y="3756220"/>
                      <a:pt x="3579522" y="3756220"/>
                    </a:cubicBezTo>
                    <a:cubicBezTo>
                      <a:pt x="3652333" y="3756220"/>
                      <a:pt x="3711357" y="3697196"/>
                      <a:pt x="3711357" y="3624385"/>
                    </a:cubicBezTo>
                    <a:lnTo>
                      <a:pt x="3711357" y="2856784"/>
                    </a:lnTo>
                    <a:lnTo>
                      <a:pt x="3779514" y="2856784"/>
                    </a:lnTo>
                    <a:lnTo>
                      <a:pt x="3779514" y="3624385"/>
                    </a:lnTo>
                    <a:cubicBezTo>
                      <a:pt x="3779514" y="3697196"/>
                      <a:pt x="3838537" y="3756220"/>
                      <a:pt x="3911348" y="3756220"/>
                    </a:cubicBezTo>
                    <a:cubicBezTo>
                      <a:pt x="3984160" y="3756220"/>
                      <a:pt x="4043183" y="3697196"/>
                      <a:pt x="4043183" y="3624385"/>
                    </a:cubicBezTo>
                    <a:lnTo>
                      <a:pt x="4043183" y="2856784"/>
                    </a:lnTo>
                    <a:lnTo>
                      <a:pt x="4259136" y="2856784"/>
                    </a:lnTo>
                    <a:lnTo>
                      <a:pt x="4043181" y="2071180"/>
                    </a:lnTo>
                    <a:lnTo>
                      <a:pt x="4043181" y="1835442"/>
                    </a:lnTo>
                    <a:lnTo>
                      <a:pt x="4229762" y="2494563"/>
                    </a:lnTo>
                    <a:cubicBezTo>
                      <a:pt x="4229722" y="2494920"/>
                      <a:pt x="4229680" y="2495279"/>
                      <a:pt x="4229640" y="2495636"/>
                    </a:cubicBezTo>
                    <a:lnTo>
                      <a:pt x="4234016" y="2504170"/>
                    </a:lnTo>
                    <a:cubicBezTo>
                      <a:pt x="4258648" y="2535028"/>
                      <a:pt x="4300069" y="2549845"/>
                      <a:pt x="4340234" y="2538475"/>
                    </a:cubicBezTo>
                    <a:cubicBezTo>
                      <a:pt x="4393788" y="2523313"/>
                      <a:pt x="4424836" y="2467336"/>
                      <a:pt x="4409583" y="2413447"/>
                    </a:cubicBezTo>
                    <a:lnTo>
                      <a:pt x="4163825" y="1567585"/>
                    </a:lnTo>
                    <a:cubicBezTo>
                      <a:pt x="4148999" y="1532536"/>
                      <a:pt x="4120923" y="1504458"/>
                      <a:pt x="4085875" y="1489634"/>
                    </a:cubicBezTo>
                    <a:lnTo>
                      <a:pt x="4043181" y="1478123"/>
                    </a:lnTo>
                    <a:lnTo>
                      <a:pt x="4028858" y="1478123"/>
                    </a:lnTo>
                    <a:lnTo>
                      <a:pt x="3447688" y="1478123"/>
                    </a:lnTo>
                    <a:lnTo>
                      <a:pt x="3447685" y="1478123"/>
                    </a:lnTo>
                    <a:close/>
                    <a:moveTo>
                      <a:pt x="2105608" y="904721"/>
                    </a:moveTo>
                    <a:cubicBezTo>
                      <a:pt x="1955558" y="904721"/>
                      <a:pt x="1833918" y="1026362"/>
                      <a:pt x="1833918" y="1176411"/>
                    </a:cubicBezTo>
                    <a:cubicBezTo>
                      <a:pt x="1833918" y="1326460"/>
                      <a:pt x="1955558" y="1448101"/>
                      <a:pt x="2105608" y="1448101"/>
                    </a:cubicBezTo>
                    <a:cubicBezTo>
                      <a:pt x="2255657" y="1448101"/>
                      <a:pt x="2377297" y="1326460"/>
                      <a:pt x="2377297" y="1176411"/>
                    </a:cubicBezTo>
                    <a:cubicBezTo>
                      <a:pt x="2377297" y="1026362"/>
                      <a:pt x="2255657" y="904721"/>
                      <a:pt x="2105608" y="904721"/>
                    </a:cubicBezTo>
                    <a:close/>
                    <a:moveTo>
                      <a:pt x="3734668" y="891344"/>
                    </a:moveTo>
                    <a:cubicBezTo>
                      <a:pt x="3584620" y="891344"/>
                      <a:pt x="3462979" y="1012984"/>
                      <a:pt x="3462979" y="1163034"/>
                    </a:cubicBezTo>
                    <a:cubicBezTo>
                      <a:pt x="3462979" y="1313084"/>
                      <a:pt x="3584620" y="1434724"/>
                      <a:pt x="3734668" y="1434724"/>
                    </a:cubicBezTo>
                    <a:cubicBezTo>
                      <a:pt x="3884718" y="1434724"/>
                      <a:pt x="4006358" y="1313084"/>
                      <a:pt x="4006358" y="1163034"/>
                    </a:cubicBezTo>
                    <a:cubicBezTo>
                      <a:pt x="4006358" y="1012984"/>
                      <a:pt x="3884718" y="891344"/>
                      <a:pt x="3734668" y="891344"/>
                    </a:cubicBezTo>
                    <a:close/>
                    <a:moveTo>
                      <a:pt x="0" y="68723"/>
                    </a:moveTo>
                    <a:lnTo>
                      <a:pt x="5067408" y="23250"/>
                    </a:lnTo>
                    <a:cubicBezTo>
                      <a:pt x="5067407" y="77939"/>
                      <a:pt x="5067407" y="132628"/>
                      <a:pt x="5067406" y="187317"/>
                    </a:cubicBezTo>
                    <a:lnTo>
                      <a:pt x="5080039" y="0"/>
                    </a:lnTo>
                    <a:lnTo>
                      <a:pt x="5105299" y="4457973"/>
                    </a:lnTo>
                    <a:lnTo>
                      <a:pt x="5125832" y="4471344"/>
                    </a:lnTo>
                    <a:lnTo>
                      <a:pt x="5064232" y="4474155"/>
                    </a:lnTo>
                    <a:lnTo>
                      <a:pt x="5160151" y="4474155"/>
                    </a:lnTo>
                    <a:lnTo>
                      <a:pt x="41070" y="4457974"/>
                    </a:lnTo>
                    <a:lnTo>
                      <a:pt x="53701" y="4457974"/>
                    </a:lnTo>
                    <a:lnTo>
                      <a:pt x="28439" y="4199870"/>
                    </a:lnTo>
                    <a:lnTo>
                      <a:pt x="41068" y="4159096"/>
                    </a:lnTo>
                    <a:cubicBezTo>
                      <a:pt x="41068" y="3808928"/>
                      <a:pt x="0" y="418891"/>
                      <a:pt x="0" y="6872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595" tIns="47299" rIns="94595" bIns="47299" rtlCol="0" anchor="ctr">
                <a:noAutofit/>
              </a:bodyPr>
              <a:lstStyle/>
              <a:p>
                <a:pPr algn="ctr" defTabSz="945977"/>
                <a:r>
                  <a:rPr lang="en-US" sz="1361" dirty="0">
                    <a:solidFill>
                      <a:prstClr val="white"/>
                    </a:solidFill>
                  </a:rPr>
                  <a:t> </a:t>
                </a:r>
              </a:p>
            </p:txBody>
          </p:sp>
        </p:grpSp>
        <p:grpSp>
          <p:nvGrpSpPr>
            <p:cNvPr id="8" name="Group 89">
              <a:extLst>
                <a:ext uri="{FF2B5EF4-FFF2-40B4-BE49-F238E27FC236}">
                  <a16:creationId xmlns:a16="http://schemas.microsoft.com/office/drawing/2014/main" id="{E38FFF02-56A9-717A-99DD-9B7604EAD1F8}"/>
                </a:ext>
              </a:extLst>
            </p:cNvPr>
            <p:cNvGrpSpPr/>
            <p:nvPr/>
          </p:nvGrpSpPr>
          <p:grpSpPr>
            <a:xfrm>
              <a:off x="1567460" y="1032874"/>
              <a:ext cx="1567252" cy="567959"/>
              <a:chOff x="3228975" y="1780253"/>
              <a:chExt cx="1295400" cy="420022"/>
            </a:xfrm>
          </p:grpSpPr>
          <p:sp>
            <p:nvSpPr>
              <p:cNvPr id="11" name="Rounded Rectangle 92">
                <a:extLst>
                  <a:ext uri="{FF2B5EF4-FFF2-40B4-BE49-F238E27FC236}">
                    <a16:creationId xmlns:a16="http://schemas.microsoft.com/office/drawing/2014/main" id="{D5FFC4A1-2D37-5BDF-5766-2CE8073ACB4F}"/>
                  </a:ext>
                </a:extLst>
              </p:cNvPr>
              <p:cNvSpPr/>
              <p:nvPr/>
            </p:nvSpPr>
            <p:spPr>
              <a:xfrm>
                <a:off x="3228975" y="1943100"/>
                <a:ext cx="1295400" cy="257175"/>
              </a:xfrm>
              <a:prstGeom prst="roundRect">
                <a:avLst/>
              </a:prstGeom>
              <a:no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633" dirty="0"/>
              </a:p>
            </p:txBody>
          </p:sp>
          <p:sp>
            <p:nvSpPr>
              <p:cNvPr id="12" name="TextBox 93">
                <a:extLst>
                  <a:ext uri="{FF2B5EF4-FFF2-40B4-BE49-F238E27FC236}">
                    <a16:creationId xmlns:a16="http://schemas.microsoft.com/office/drawing/2014/main" id="{5375F28A-B3A5-A05A-97B7-16E8DA1FD4BE}"/>
                  </a:ext>
                </a:extLst>
              </p:cNvPr>
              <p:cNvSpPr txBox="1"/>
              <p:nvPr/>
            </p:nvSpPr>
            <p:spPr>
              <a:xfrm>
                <a:off x="3391869" y="1780253"/>
                <a:ext cx="638948" cy="293160"/>
              </a:xfrm>
              <a:prstGeom prst="rect">
                <a:avLst/>
              </a:prstGeom>
              <a:noFill/>
            </p:spPr>
            <p:txBody>
              <a:bodyPr wrap="square" rtlCol="0">
                <a:spAutoFit/>
              </a:bodyPr>
              <a:lstStyle/>
              <a:p>
                <a:pPr algn="ctr"/>
                <a:r>
                  <a:rPr lang="bg-BG" sz="1200" dirty="0">
                    <a:latin typeface="Arial Narrow" panose="020B0606020202030204" pitchFamily="34" charset="0"/>
                  </a:rPr>
                  <a:t>ПОЛ</a:t>
                </a:r>
              </a:p>
            </p:txBody>
          </p:sp>
        </p:grpSp>
        <p:sp>
          <p:nvSpPr>
            <p:cNvPr id="9" name="TextBox 90">
              <a:extLst>
                <a:ext uri="{FF2B5EF4-FFF2-40B4-BE49-F238E27FC236}">
                  <a16:creationId xmlns:a16="http://schemas.microsoft.com/office/drawing/2014/main" id="{274C37EB-A8D2-5892-5FD4-2F573AE6142A}"/>
                </a:ext>
              </a:extLst>
            </p:cNvPr>
            <p:cNvSpPr txBox="1"/>
            <p:nvPr/>
          </p:nvSpPr>
          <p:spPr>
            <a:xfrm>
              <a:off x="1592140" y="3093215"/>
              <a:ext cx="793999" cy="286539"/>
            </a:xfrm>
            <a:prstGeom prst="rect">
              <a:avLst/>
            </a:prstGeom>
            <a:noFill/>
          </p:spPr>
          <p:txBody>
            <a:bodyPr wrap="square" rtlCol="0">
              <a:spAutoFit/>
            </a:bodyPr>
            <a:lstStyle/>
            <a:p>
              <a:pPr algn="ctr"/>
              <a:r>
                <a:rPr lang="en-US" sz="1089" dirty="0">
                  <a:latin typeface="Arial Narrow" panose="020B0606020202030204" pitchFamily="34" charset="0"/>
                </a:rPr>
                <a:t>50.5</a:t>
              </a:r>
              <a:endParaRPr lang="bg-BG" sz="1089" dirty="0">
                <a:latin typeface="Arial Narrow" panose="020B0606020202030204" pitchFamily="34" charset="0"/>
              </a:endParaRPr>
            </a:p>
          </p:txBody>
        </p:sp>
        <p:sp>
          <p:nvSpPr>
            <p:cNvPr id="10" name="TextBox 91">
              <a:extLst>
                <a:ext uri="{FF2B5EF4-FFF2-40B4-BE49-F238E27FC236}">
                  <a16:creationId xmlns:a16="http://schemas.microsoft.com/office/drawing/2014/main" id="{968B0021-EDB7-F9EE-CC1E-84A8ED51B1F5}"/>
                </a:ext>
              </a:extLst>
            </p:cNvPr>
            <p:cNvSpPr txBox="1"/>
            <p:nvPr/>
          </p:nvSpPr>
          <p:spPr>
            <a:xfrm>
              <a:off x="2284981" y="3089617"/>
              <a:ext cx="793999" cy="286539"/>
            </a:xfrm>
            <a:prstGeom prst="rect">
              <a:avLst/>
            </a:prstGeom>
            <a:noFill/>
          </p:spPr>
          <p:txBody>
            <a:bodyPr wrap="square" rtlCol="0">
              <a:spAutoFit/>
            </a:bodyPr>
            <a:lstStyle/>
            <a:p>
              <a:pPr algn="ctr"/>
              <a:r>
                <a:rPr lang="en-US" sz="1089" dirty="0">
                  <a:latin typeface="Arial Narrow" panose="020B0606020202030204" pitchFamily="34" charset="0"/>
                </a:rPr>
                <a:t>49.5</a:t>
              </a:r>
              <a:endParaRPr lang="bg-BG" sz="1089" dirty="0">
                <a:latin typeface="Arial Narrow" panose="020B0606020202030204" pitchFamily="34" charset="0"/>
              </a:endParaRPr>
            </a:p>
          </p:txBody>
        </p:sp>
      </p:grpSp>
      <p:sp>
        <p:nvSpPr>
          <p:cNvPr id="15" name="TextBox 103">
            <a:extLst>
              <a:ext uri="{FF2B5EF4-FFF2-40B4-BE49-F238E27FC236}">
                <a16:creationId xmlns:a16="http://schemas.microsoft.com/office/drawing/2014/main" id="{5B98A922-615B-9FA3-09F4-15D4F7A4BBD6}"/>
              </a:ext>
            </a:extLst>
          </p:cNvPr>
          <p:cNvSpPr txBox="1"/>
          <p:nvPr/>
        </p:nvSpPr>
        <p:spPr>
          <a:xfrm>
            <a:off x="4360677" y="1299618"/>
            <a:ext cx="1246991" cy="276999"/>
          </a:xfrm>
          <a:prstGeom prst="rect">
            <a:avLst/>
          </a:prstGeom>
          <a:noFill/>
        </p:spPr>
        <p:txBody>
          <a:bodyPr wrap="square" rtlCol="0">
            <a:spAutoFit/>
          </a:bodyPr>
          <a:lstStyle/>
          <a:p>
            <a:pPr algn="ctr"/>
            <a:r>
              <a:rPr lang="bg-BG" sz="1200" dirty="0">
                <a:latin typeface="Arial Narrow" panose="020B0606020202030204" pitchFamily="34" charset="0"/>
              </a:rPr>
              <a:t>ВЪЗРАСТ</a:t>
            </a:r>
          </a:p>
        </p:txBody>
      </p:sp>
      <p:graphicFrame>
        <p:nvGraphicFramePr>
          <p:cNvPr id="16" name="Table 96">
            <a:extLst>
              <a:ext uri="{FF2B5EF4-FFF2-40B4-BE49-F238E27FC236}">
                <a16:creationId xmlns:a16="http://schemas.microsoft.com/office/drawing/2014/main" id="{2F3AB76B-C336-35DF-3B37-01ED0C13EE61}"/>
              </a:ext>
            </a:extLst>
          </p:cNvPr>
          <p:cNvGraphicFramePr>
            <a:graphicFrameLocks noGrp="1"/>
          </p:cNvGraphicFramePr>
          <p:nvPr/>
        </p:nvGraphicFramePr>
        <p:xfrm>
          <a:off x="4308444" y="1567906"/>
          <a:ext cx="1264935" cy="1833606"/>
        </p:xfrm>
        <a:graphic>
          <a:graphicData uri="http://schemas.openxmlformats.org/drawingml/2006/table">
            <a:tbl>
              <a:tblPr firstRow="1" bandRow="1">
                <a:tableStyleId>{2D5ABB26-0587-4C30-8999-92F81FD0307C}</a:tableStyleId>
              </a:tblPr>
              <a:tblGrid>
                <a:gridCol w="659573">
                  <a:extLst>
                    <a:ext uri="{9D8B030D-6E8A-4147-A177-3AD203B41FA5}">
                      <a16:colId xmlns:a16="http://schemas.microsoft.com/office/drawing/2014/main" val="20000"/>
                    </a:ext>
                  </a:extLst>
                </a:gridCol>
                <a:gridCol w="605362">
                  <a:extLst>
                    <a:ext uri="{9D8B030D-6E8A-4147-A177-3AD203B41FA5}">
                      <a16:colId xmlns:a16="http://schemas.microsoft.com/office/drawing/2014/main" val="20001"/>
                    </a:ext>
                  </a:extLst>
                </a:gridCol>
              </a:tblGrid>
              <a:tr h="357950">
                <a:tc>
                  <a:txBody>
                    <a:bodyPr/>
                    <a:lstStyle/>
                    <a:p>
                      <a:pPr algn="ctr" fontAlgn="ctr"/>
                      <a:r>
                        <a:rPr lang="bg-BG" sz="1100" b="0" i="0" u="none" strike="noStrike" dirty="0">
                          <a:solidFill>
                            <a:srgbClr val="000000"/>
                          </a:solidFill>
                          <a:effectLst/>
                          <a:latin typeface="Arial Narrow" panose="020B0606020202030204" pitchFamily="34" charset="0"/>
                        </a:rPr>
                        <a:t>18-30 г.</a:t>
                      </a:r>
                    </a:p>
                  </a:txBody>
                  <a:tcPr marL="8641" marR="8641" marT="8641" marB="0" anchor="ctr"/>
                </a:tc>
                <a:tc>
                  <a:txBody>
                    <a:bodyPr/>
                    <a:lstStyle/>
                    <a:p>
                      <a:pPr algn="ctr" fontAlgn="ctr"/>
                      <a:r>
                        <a:rPr lang="en-US" sz="1100" b="0" i="0" u="none" strike="noStrike" kern="1200" dirty="0">
                          <a:solidFill>
                            <a:srgbClr val="000000"/>
                          </a:solidFill>
                          <a:effectLst/>
                          <a:latin typeface="Arial Narrow" panose="020B0606020202030204" pitchFamily="34" charset="0"/>
                          <a:ea typeface="+mn-ea"/>
                          <a:cs typeface="+mn-cs"/>
                        </a:rPr>
                        <a:t>18.5</a:t>
                      </a:r>
                      <a:endParaRPr lang="bg-BG" sz="1100" b="0" i="0" u="none" strike="noStrike" kern="1200" dirty="0">
                        <a:solidFill>
                          <a:srgbClr val="000000"/>
                        </a:solidFill>
                        <a:effectLst/>
                        <a:latin typeface="Arial Narrow" panose="020B0606020202030204" pitchFamily="34" charset="0"/>
                        <a:ea typeface="+mn-ea"/>
                        <a:cs typeface="+mn-cs"/>
                      </a:endParaRPr>
                    </a:p>
                  </a:txBody>
                  <a:tcPr marL="8641" marR="8641" marT="8641" marB="0" anchor="ctr"/>
                </a:tc>
                <a:extLst>
                  <a:ext uri="{0D108BD9-81ED-4DB2-BD59-A6C34878D82A}">
                    <a16:rowId xmlns:a16="http://schemas.microsoft.com/office/drawing/2014/main" val="10000"/>
                  </a:ext>
                </a:extLst>
              </a:tr>
              <a:tr h="368914">
                <a:tc>
                  <a:txBody>
                    <a:bodyPr/>
                    <a:lstStyle/>
                    <a:p>
                      <a:pPr algn="ctr" fontAlgn="ctr"/>
                      <a:r>
                        <a:rPr lang="bg-BG" sz="1100" b="0" i="0" u="none" strike="noStrike" dirty="0">
                          <a:solidFill>
                            <a:srgbClr val="000000"/>
                          </a:solidFill>
                          <a:effectLst/>
                          <a:latin typeface="Arial Narrow" panose="020B0606020202030204" pitchFamily="34" charset="0"/>
                        </a:rPr>
                        <a:t>31-40 г.</a:t>
                      </a:r>
                    </a:p>
                  </a:txBody>
                  <a:tcPr marL="8641" marR="8641" marT="8641" marB="0" anchor="ctr"/>
                </a:tc>
                <a:tc>
                  <a:txBody>
                    <a:bodyPr/>
                    <a:lstStyle/>
                    <a:p>
                      <a:pPr algn="ctr" fontAlgn="ctr"/>
                      <a:r>
                        <a:rPr lang="en-US" sz="1100" b="0" i="0" u="none" strike="noStrike" kern="1200" dirty="0">
                          <a:solidFill>
                            <a:srgbClr val="000000"/>
                          </a:solidFill>
                          <a:effectLst/>
                          <a:latin typeface="Arial Narrow" panose="020B0606020202030204" pitchFamily="34" charset="0"/>
                          <a:ea typeface="+mn-ea"/>
                          <a:cs typeface="+mn-cs"/>
                        </a:rPr>
                        <a:t>17.5</a:t>
                      </a:r>
                      <a:endParaRPr lang="bg-BG" sz="1100" b="0" i="0" u="none" strike="noStrike" kern="1200" dirty="0">
                        <a:solidFill>
                          <a:srgbClr val="000000"/>
                        </a:solidFill>
                        <a:effectLst/>
                        <a:latin typeface="Arial Narrow" panose="020B0606020202030204" pitchFamily="34" charset="0"/>
                        <a:ea typeface="+mn-ea"/>
                        <a:cs typeface="+mn-cs"/>
                      </a:endParaRPr>
                    </a:p>
                  </a:txBody>
                  <a:tcPr marL="8641" marR="8641" marT="8641" marB="0" anchor="ctr"/>
                </a:tc>
                <a:extLst>
                  <a:ext uri="{0D108BD9-81ED-4DB2-BD59-A6C34878D82A}">
                    <a16:rowId xmlns:a16="http://schemas.microsoft.com/office/drawing/2014/main" val="10001"/>
                  </a:ext>
                </a:extLst>
              </a:tr>
              <a:tr h="368914">
                <a:tc>
                  <a:txBody>
                    <a:bodyPr/>
                    <a:lstStyle/>
                    <a:p>
                      <a:pPr algn="ctr" fontAlgn="ctr"/>
                      <a:r>
                        <a:rPr lang="bg-BG" sz="1100" b="0" i="0" u="none" strike="noStrike" dirty="0">
                          <a:solidFill>
                            <a:srgbClr val="000000"/>
                          </a:solidFill>
                          <a:effectLst/>
                          <a:latin typeface="Arial Narrow" panose="020B0606020202030204" pitchFamily="34" charset="0"/>
                        </a:rPr>
                        <a:t>41-50 г.</a:t>
                      </a:r>
                    </a:p>
                  </a:txBody>
                  <a:tcPr marL="8641" marR="8641" marT="8641" marB="0" anchor="ctr"/>
                </a:tc>
                <a:tc>
                  <a:txBody>
                    <a:bodyPr/>
                    <a:lstStyle/>
                    <a:p>
                      <a:pPr algn="ctr" fontAlgn="ctr"/>
                      <a:r>
                        <a:rPr lang="en-US" sz="1100" b="0" i="0" u="none" strike="noStrike" kern="1200" dirty="0">
                          <a:solidFill>
                            <a:srgbClr val="000000"/>
                          </a:solidFill>
                          <a:effectLst/>
                          <a:latin typeface="Arial Narrow" panose="020B0606020202030204" pitchFamily="34" charset="0"/>
                          <a:ea typeface="+mn-ea"/>
                          <a:cs typeface="+mn-cs"/>
                        </a:rPr>
                        <a:t>16.5</a:t>
                      </a:r>
                      <a:endParaRPr lang="bg-BG" sz="1100" b="0" i="0" u="none" strike="noStrike" kern="1200" dirty="0">
                        <a:solidFill>
                          <a:srgbClr val="000000"/>
                        </a:solidFill>
                        <a:effectLst/>
                        <a:latin typeface="Arial Narrow" panose="020B0606020202030204" pitchFamily="34" charset="0"/>
                        <a:ea typeface="+mn-ea"/>
                        <a:cs typeface="+mn-cs"/>
                      </a:endParaRPr>
                    </a:p>
                  </a:txBody>
                  <a:tcPr marL="8641" marR="8641" marT="8641" marB="0" anchor="ctr"/>
                </a:tc>
                <a:extLst>
                  <a:ext uri="{0D108BD9-81ED-4DB2-BD59-A6C34878D82A}">
                    <a16:rowId xmlns:a16="http://schemas.microsoft.com/office/drawing/2014/main" val="10002"/>
                  </a:ext>
                </a:extLst>
              </a:tr>
              <a:tr h="368914">
                <a:tc>
                  <a:txBody>
                    <a:bodyPr/>
                    <a:lstStyle/>
                    <a:p>
                      <a:pPr algn="ctr" fontAlgn="ctr"/>
                      <a:r>
                        <a:rPr lang="bg-BG" sz="1100" b="0" i="0" u="none" strike="noStrike" dirty="0">
                          <a:solidFill>
                            <a:srgbClr val="000000"/>
                          </a:solidFill>
                          <a:effectLst/>
                          <a:latin typeface="Arial Narrow" panose="020B0606020202030204" pitchFamily="34" charset="0"/>
                        </a:rPr>
                        <a:t>51-60 г.</a:t>
                      </a:r>
                    </a:p>
                  </a:txBody>
                  <a:tcPr marL="8641" marR="8641" marT="8641" marB="0" anchor="ctr"/>
                </a:tc>
                <a:tc>
                  <a:txBody>
                    <a:bodyPr/>
                    <a:lstStyle/>
                    <a:p>
                      <a:pPr algn="ctr" fontAlgn="ctr"/>
                      <a:r>
                        <a:rPr lang="en-US" sz="1100" b="0" i="0" u="none" strike="noStrike" kern="1200" dirty="0">
                          <a:solidFill>
                            <a:srgbClr val="000000"/>
                          </a:solidFill>
                          <a:effectLst/>
                          <a:latin typeface="Arial Narrow" panose="020B0606020202030204" pitchFamily="34" charset="0"/>
                          <a:ea typeface="+mn-ea"/>
                          <a:cs typeface="+mn-cs"/>
                        </a:rPr>
                        <a:t>16.7</a:t>
                      </a:r>
                      <a:endParaRPr lang="bg-BG" sz="1100" b="0" i="0" u="none" strike="noStrike" kern="1200" dirty="0">
                        <a:solidFill>
                          <a:srgbClr val="000000"/>
                        </a:solidFill>
                        <a:effectLst/>
                        <a:latin typeface="Arial Narrow" panose="020B0606020202030204" pitchFamily="34" charset="0"/>
                        <a:ea typeface="+mn-ea"/>
                        <a:cs typeface="+mn-cs"/>
                      </a:endParaRPr>
                    </a:p>
                  </a:txBody>
                  <a:tcPr marL="8641" marR="8641" marT="8641" marB="0" anchor="ctr"/>
                </a:tc>
                <a:extLst>
                  <a:ext uri="{0D108BD9-81ED-4DB2-BD59-A6C34878D82A}">
                    <a16:rowId xmlns:a16="http://schemas.microsoft.com/office/drawing/2014/main" val="10003"/>
                  </a:ext>
                </a:extLst>
              </a:tr>
              <a:tr h="368914">
                <a:tc>
                  <a:txBody>
                    <a:bodyPr/>
                    <a:lstStyle/>
                    <a:p>
                      <a:pPr algn="ctr" fontAlgn="ctr"/>
                      <a:r>
                        <a:rPr lang="bg-BG" sz="1100" b="0" i="0" u="none" strike="noStrike" dirty="0">
                          <a:solidFill>
                            <a:srgbClr val="000000"/>
                          </a:solidFill>
                          <a:effectLst/>
                          <a:latin typeface="Arial Narrow" panose="020B0606020202030204" pitchFamily="34" charset="0"/>
                        </a:rPr>
                        <a:t>61 г.+</a:t>
                      </a:r>
                    </a:p>
                  </a:txBody>
                  <a:tcPr marL="8641" marR="8641" marT="8641" marB="0" anchor="ctr"/>
                </a:tc>
                <a:tc>
                  <a:txBody>
                    <a:bodyPr/>
                    <a:lstStyle/>
                    <a:p>
                      <a:pPr algn="ctr" fontAlgn="ctr"/>
                      <a:r>
                        <a:rPr lang="en-US" sz="1100" b="0" i="0" u="none" strike="noStrike" kern="1200" dirty="0">
                          <a:solidFill>
                            <a:srgbClr val="000000"/>
                          </a:solidFill>
                          <a:effectLst/>
                          <a:latin typeface="Arial Narrow" panose="020B0606020202030204" pitchFamily="34" charset="0"/>
                          <a:ea typeface="+mn-ea"/>
                          <a:cs typeface="+mn-cs"/>
                        </a:rPr>
                        <a:t>30.8</a:t>
                      </a:r>
                      <a:endParaRPr lang="bg-BG" sz="1100" b="0" i="0" u="none" strike="noStrike" kern="1200" dirty="0">
                        <a:solidFill>
                          <a:srgbClr val="000000"/>
                        </a:solidFill>
                        <a:effectLst/>
                        <a:latin typeface="Arial Narrow" panose="020B0606020202030204" pitchFamily="34" charset="0"/>
                        <a:ea typeface="+mn-ea"/>
                        <a:cs typeface="+mn-cs"/>
                      </a:endParaRPr>
                    </a:p>
                  </a:txBody>
                  <a:tcPr marL="8641" marR="8641" marT="8641" marB="0" anchor="ctr"/>
                </a:tc>
                <a:extLst>
                  <a:ext uri="{0D108BD9-81ED-4DB2-BD59-A6C34878D82A}">
                    <a16:rowId xmlns:a16="http://schemas.microsoft.com/office/drawing/2014/main" val="10004"/>
                  </a:ext>
                </a:extLst>
              </a:tr>
            </a:tbl>
          </a:graphicData>
        </a:graphic>
      </p:graphicFrame>
      <p:graphicFrame>
        <p:nvGraphicFramePr>
          <p:cNvPr id="23" name="Chart 80">
            <a:extLst>
              <a:ext uri="{FF2B5EF4-FFF2-40B4-BE49-F238E27FC236}">
                <a16:creationId xmlns:a16="http://schemas.microsoft.com/office/drawing/2014/main" id="{D1889F2E-2883-EC17-CB18-CAAE85B27CF7}"/>
              </a:ext>
            </a:extLst>
          </p:cNvPr>
          <p:cNvGraphicFramePr/>
          <p:nvPr/>
        </p:nvGraphicFramePr>
        <p:xfrm>
          <a:off x="4128886" y="3590556"/>
          <a:ext cx="2290964" cy="2733711"/>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129">
            <a:extLst>
              <a:ext uri="{FF2B5EF4-FFF2-40B4-BE49-F238E27FC236}">
                <a16:creationId xmlns:a16="http://schemas.microsoft.com/office/drawing/2014/main" id="{B729A39F-EB37-884C-0C39-832490C11C7B}"/>
              </a:ext>
            </a:extLst>
          </p:cNvPr>
          <p:cNvGrpSpPr/>
          <p:nvPr/>
        </p:nvGrpSpPr>
        <p:grpSpPr>
          <a:xfrm>
            <a:off x="1894807" y="3631115"/>
            <a:ext cx="2440854" cy="2315867"/>
            <a:chOff x="1622409" y="3886977"/>
            <a:chExt cx="2628638" cy="2397736"/>
          </a:xfrm>
        </p:grpSpPr>
        <p:grpSp>
          <p:nvGrpSpPr>
            <p:cNvPr id="25" name="Group 130">
              <a:extLst>
                <a:ext uri="{FF2B5EF4-FFF2-40B4-BE49-F238E27FC236}">
                  <a16:creationId xmlns:a16="http://schemas.microsoft.com/office/drawing/2014/main" id="{CD6150F6-42A6-EACF-2CD7-243EA6F5E1F3}"/>
                </a:ext>
              </a:extLst>
            </p:cNvPr>
            <p:cNvGrpSpPr/>
            <p:nvPr/>
          </p:nvGrpSpPr>
          <p:grpSpPr>
            <a:xfrm>
              <a:off x="1622409" y="3958423"/>
              <a:ext cx="2628638" cy="2326290"/>
              <a:chOff x="7124962" y="4713052"/>
              <a:chExt cx="2628638" cy="2326290"/>
            </a:xfrm>
          </p:grpSpPr>
          <p:graphicFrame>
            <p:nvGraphicFramePr>
              <p:cNvPr id="30" name="Chart 135">
                <a:extLst>
                  <a:ext uri="{FF2B5EF4-FFF2-40B4-BE49-F238E27FC236}">
                    <a16:creationId xmlns:a16="http://schemas.microsoft.com/office/drawing/2014/main" id="{5AACFF22-F5FB-F12B-CDFA-0F2829C9A697}"/>
                  </a:ext>
                </a:extLst>
              </p:cNvPr>
              <p:cNvGraphicFramePr/>
              <p:nvPr/>
            </p:nvGraphicFramePr>
            <p:xfrm>
              <a:off x="7124962" y="4868366"/>
              <a:ext cx="2628638" cy="2104022"/>
            </p:xfrm>
            <a:graphic>
              <a:graphicData uri="http://schemas.openxmlformats.org/drawingml/2006/chart">
                <c:chart xmlns:c="http://schemas.openxmlformats.org/drawingml/2006/chart" xmlns:r="http://schemas.openxmlformats.org/officeDocument/2006/relationships" r:id="rId4"/>
              </a:graphicData>
            </a:graphic>
          </p:graphicFrame>
          <p:grpSp>
            <p:nvGrpSpPr>
              <p:cNvPr id="31" name="Group 136">
                <a:extLst>
                  <a:ext uri="{FF2B5EF4-FFF2-40B4-BE49-F238E27FC236}">
                    <a16:creationId xmlns:a16="http://schemas.microsoft.com/office/drawing/2014/main" id="{56CCA86A-10A2-E2B8-4E4F-892CECCA1CBC}"/>
                  </a:ext>
                </a:extLst>
              </p:cNvPr>
              <p:cNvGrpSpPr/>
              <p:nvPr/>
            </p:nvGrpSpPr>
            <p:grpSpPr>
              <a:xfrm>
                <a:off x="7508792" y="4713052"/>
                <a:ext cx="1906587" cy="2326290"/>
                <a:chOff x="7508792" y="4713052"/>
                <a:chExt cx="1906587" cy="2326290"/>
              </a:xfrm>
            </p:grpSpPr>
            <p:sp>
              <p:nvSpPr>
                <p:cNvPr id="32" name="Свободна форма: фигура 30">
                  <a:extLst>
                    <a:ext uri="{FF2B5EF4-FFF2-40B4-BE49-F238E27FC236}">
                      <a16:creationId xmlns:a16="http://schemas.microsoft.com/office/drawing/2014/main" id="{5D67EBB4-4968-1BF6-67B2-FAD15CA67357}"/>
                    </a:ext>
                  </a:extLst>
                </p:cNvPr>
                <p:cNvSpPr/>
                <p:nvPr/>
              </p:nvSpPr>
              <p:spPr bwMode="auto">
                <a:xfrm>
                  <a:off x="7760410" y="5510004"/>
                  <a:ext cx="1007504" cy="1529338"/>
                </a:xfrm>
                <a:custGeom>
                  <a:avLst/>
                  <a:gdLst/>
                  <a:ahLst/>
                  <a:cxnLst/>
                  <a:rect l="l" t="t" r="r" b="b"/>
                  <a:pathLst>
                    <a:path w="2016224" h="2398025">
                      <a:moveTo>
                        <a:pt x="270251" y="1784205"/>
                      </a:moveTo>
                      <a:lnTo>
                        <a:pt x="241416" y="1877223"/>
                      </a:lnTo>
                      <a:lnTo>
                        <a:pt x="246997" y="1890245"/>
                      </a:lnTo>
                      <a:lnTo>
                        <a:pt x="275832" y="1825133"/>
                      </a:lnTo>
                      <a:lnTo>
                        <a:pt x="259089" y="1905128"/>
                      </a:lnTo>
                      <a:lnTo>
                        <a:pt x="274902" y="1916290"/>
                      </a:lnTo>
                      <a:lnTo>
                        <a:pt x="297226" y="1840016"/>
                      </a:lnTo>
                      <a:lnTo>
                        <a:pt x="294436" y="1925592"/>
                      </a:lnTo>
                      <a:lnTo>
                        <a:pt x="312109" y="1931173"/>
                      </a:lnTo>
                      <a:lnTo>
                        <a:pt x="326992" y="1846527"/>
                      </a:lnTo>
                      <a:lnTo>
                        <a:pt x="335363" y="1933963"/>
                      </a:lnTo>
                      <a:lnTo>
                        <a:pt x="353967" y="1935824"/>
                      </a:lnTo>
                      <a:lnTo>
                        <a:pt x="363269" y="1848387"/>
                      </a:lnTo>
                      <a:lnTo>
                        <a:pt x="372570" y="1935824"/>
                      </a:lnTo>
                      <a:lnTo>
                        <a:pt x="391174" y="1933963"/>
                      </a:lnTo>
                      <a:lnTo>
                        <a:pt x="399545" y="1846527"/>
                      </a:lnTo>
                      <a:lnTo>
                        <a:pt x="414428" y="1931173"/>
                      </a:lnTo>
                      <a:lnTo>
                        <a:pt x="432102" y="1925592"/>
                      </a:lnTo>
                      <a:lnTo>
                        <a:pt x="429311" y="1840016"/>
                      </a:lnTo>
                      <a:lnTo>
                        <a:pt x="451635" y="1916290"/>
                      </a:lnTo>
                      <a:lnTo>
                        <a:pt x="467448" y="1905128"/>
                      </a:lnTo>
                      <a:lnTo>
                        <a:pt x="450705" y="1825133"/>
                      </a:lnTo>
                      <a:lnTo>
                        <a:pt x="479541" y="1890245"/>
                      </a:lnTo>
                      <a:lnTo>
                        <a:pt x="485122" y="1877223"/>
                      </a:lnTo>
                      <a:lnTo>
                        <a:pt x="456286" y="1784205"/>
                      </a:lnTo>
                      <a:cubicBezTo>
                        <a:pt x="452565" y="1815831"/>
                        <a:pt x="421559" y="1831644"/>
                        <a:pt x="363269" y="1831644"/>
                      </a:cubicBezTo>
                      <a:cubicBezTo>
                        <a:pt x="304978" y="1831644"/>
                        <a:pt x="273972" y="1815831"/>
                        <a:pt x="270251" y="1784205"/>
                      </a:cubicBezTo>
                      <a:close/>
                      <a:moveTo>
                        <a:pt x="345595" y="1719093"/>
                      </a:moveTo>
                      <a:cubicBezTo>
                        <a:pt x="328232" y="1720953"/>
                        <a:pt x="315209" y="1724674"/>
                        <a:pt x="306528" y="1730255"/>
                      </a:cubicBezTo>
                      <a:cubicBezTo>
                        <a:pt x="290405" y="1749478"/>
                        <a:pt x="280173" y="1764981"/>
                        <a:pt x="275832" y="1776764"/>
                      </a:cubicBezTo>
                      <a:cubicBezTo>
                        <a:pt x="281413" y="1807149"/>
                        <a:pt x="310559" y="1822342"/>
                        <a:pt x="363269" y="1822342"/>
                      </a:cubicBezTo>
                      <a:cubicBezTo>
                        <a:pt x="415978" y="1822342"/>
                        <a:pt x="445124" y="1807149"/>
                        <a:pt x="450705" y="1776764"/>
                      </a:cubicBezTo>
                      <a:cubicBezTo>
                        <a:pt x="441403" y="1753199"/>
                        <a:pt x="431171" y="1737696"/>
                        <a:pt x="420009" y="1730255"/>
                      </a:cubicBezTo>
                      <a:cubicBezTo>
                        <a:pt x="406367" y="1725914"/>
                        <a:pt x="393344" y="1722193"/>
                        <a:pt x="380942" y="1719093"/>
                      </a:cubicBezTo>
                      <a:cubicBezTo>
                        <a:pt x="379081" y="1726534"/>
                        <a:pt x="373190" y="1730255"/>
                        <a:pt x="363269" y="1730255"/>
                      </a:cubicBezTo>
                      <a:cubicBezTo>
                        <a:pt x="353347" y="1730255"/>
                        <a:pt x="347456" y="1726534"/>
                        <a:pt x="345595" y="1719093"/>
                      </a:cubicBezTo>
                      <a:close/>
                      <a:moveTo>
                        <a:pt x="1418088" y="1174940"/>
                      </a:moveTo>
                      <a:lnTo>
                        <a:pt x="530700" y="1318187"/>
                      </a:lnTo>
                      <a:lnTo>
                        <a:pt x="381872" y="1191683"/>
                      </a:lnTo>
                      <a:lnTo>
                        <a:pt x="381872" y="1289351"/>
                      </a:lnTo>
                      <a:cubicBezTo>
                        <a:pt x="409777" y="1291212"/>
                        <a:pt x="434582" y="1301444"/>
                        <a:pt x="456286" y="1320047"/>
                      </a:cubicBezTo>
                      <a:cubicBezTo>
                        <a:pt x="519538" y="1372757"/>
                        <a:pt x="565427" y="1449342"/>
                        <a:pt x="593952" y="1549801"/>
                      </a:cubicBezTo>
                      <a:cubicBezTo>
                        <a:pt x="605734" y="1591348"/>
                        <a:pt x="613796" y="1636307"/>
                        <a:pt x="618137" y="1684676"/>
                      </a:cubicBezTo>
                      <a:cubicBezTo>
                        <a:pt x="748981" y="1514144"/>
                        <a:pt x="908972" y="1411825"/>
                        <a:pt x="1098107" y="1377718"/>
                      </a:cubicBezTo>
                      <a:cubicBezTo>
                        <a:pt x="1128493" y="1372137"/>
                        <a:pt x="1158259" y="1369347"/>
                        <a:pt x="1187404" y="1369347"/>
                      </a:cubicBezTo>
                      <a:cubicBezTo>
                        <a:pt x="1344914" y="1369347"/>
                        <a:pt x="1477929" y="1437869"/>
                        <a:pt x="1586450" y="1574915"/>
                      </a:cubicBezTo>
                      <a:cubicBezTo>
                        <a:pt x="1594511" y="1448412"/>
                        <a:pt x="1574047" y="1349193"/>
                        <a:pt x="1525058" y="1277259"/>
                      </a:cubicBezTo>
                      <a:cubicBezTo>
                        <a:pt x="1475449" y="1223309"/>
                        <a:pt x="1439792" y="1189202"/>
                        <a:pt x="1418088" y="1174940"/>
                      </a:cubicBezTo>
                      <a:close/>
                      <a:moveTo>
                        <a:pt x="335363" y="1153546"/>
                      </a:moveTo>
                      <a:cubicBezTo>
                        <a:pt x="315519" y="1169049"/>
                        <a:pt x="300637" y="1183001"/>
                        <a:pt x="290715" y="1195404"/>
                      </a:cubicBezTo>
                      <a:cubicBezTo>
                        <a:pt x="260329" y="1248734"/>
                        <a:pt x="242346" y="1285321"/>
                        <a:pt x="236765" y="1305164"/>
                      </a:cubicBezTo>
                      <a:cubicBezTo>
                        <a:pt x="268391" y="1289661"/>
                        <a:pt x="304047" y="1282840"/>
                        <a:pt x="343735" y="1284701"/>
                      </a:cubicBezTo>
                      <a:lnTo>
                        <a:pt x="343735" y="1216798"/>
                      </a:lnTo>
                      <a:cubicBezTo>
                        <a:pt x="343115" y="1198194"/>
                        <a:pt x="343735" y="1179901"/>
                        <a:pt x="345595" y="1161917"/>
                      </a:cubicBezTo>
                      <a:close/>
                      <a:moveTo>
                        <a:pt x="832193" y="1017333"/>
                      </a:moveTo>
                      <a:cubicBezTo>
                        <a:pt x="830100" y="1016984"/>
                        <a:pt x="827891" y="1017120"/>
                        <a:pt x="825566" y="1017740"/>
                      </a:cubicBezTo>
                      <a:cubicBezTo>
                        <a:pt x="599223" y="1072931"/>
                        <a:pt x="450395" y="1109518"/>
                        <a:pt x="379081" y="1127501"/>
                      </a:cubicBezTo>
                      <a:cubicBezTo>
                        <a:pt x="364199" y="1131842"/>
                        <a:pt x="354897" y="1143624"/>
                        <a:pt x="351176" y="1162848"/>
                      </a:cubicBezTo>
                      <a:cubicBezTo>
                        <a:pt x="350556" y="1168429"/>
                        <a:pt x="350246" y="1187032"/>
                        <a:pt x="350246" y="1218658"/>
                      </a:cubicBezTo>
                      <a:lnTo>
                        <a:pt x="350246" y="1719093"/>
                      </a:lnTo>
                      <a:cubicBezTo>
                        <a:pt x="352727" y="1723433"/>
                        <a:pt x="357067" y="1725604"/>
                        <a:pt x="363269" y="1725604"/>
                      </a:cubicBezTo>
                      <a:cubicBezTo>
                        <a:pt x="368230" y="1726224"/>
                        <a:pt x="372880" y="1724054"/>
                        <a:pt x="377221" y="1719093"/>
                      </a:cubicBezTo>
                      <a:lnTo>
                        <a:pt x="377221" y="1182381"/>
                      </a:lnTo>
                      <a:cubicBezTo>
                        <a:pt x="377221" y="1163778"/>
                        <a:pt x="384042" y="1152926"/>
                        <a:pt x="397685" y="1149825"/>
                      </a:cubicBezTo>
                      <a:lnTo>
                        <a:pt x="847890" y="1033553"/>
                      </a:lnTo>
                      <a:cubicBezTo>
                        <a:pt x="843704" y="1023786"/>
                        <a:pt x="838472" y="1018380"/>
                        <a:pt x="832193" y="1017333"/>
                      </a:cubicBezTo>
                      <a:close/>
                      <a:moveTo>
                        <a:pt x="965092" y="873563"/>
                      </a:moveTo>
                      <a:lnTo>
                        <a:pt x="125144" y="941466"/>
                      </a:lnTo>
                      <a:lnTo>
                        <a:pt x="125144" y="958209"/>
                      </a:lnTo>
                      <a:lnTo>
                        <a:pt x="349316" y="1152616"/>
                      </a:lnTo>
                      <a:cubicBezTo>
                        <a:pt x="349936" y="1137733"/>
                        <a:pt x="359238" y="1128121"/>
                        <a:pt x="377221" y="1123780"/>
                      </a:cubicBezTo>
                      <a:lnTo>
                        <a:pt x="826496" y="1014950"/>
                      </a:lnTo>
                      <a:cubicBezTo>
                        <a:pt x="838898" y="1011849"/>
                        <a:pt x="848510" y="1018670"/>
                        <a:pt x="855332" y="1035413"/>
                      </a:cubicBezTo>
                      <a:lnTo>
                        <a:pt x="405126" y="1152616"/>
                      </a:lnTo>
                      <a:cubicBezTo>
                        <a:pt x="391484" y="1156336"/>
                        <a:pt x="385283" y="1165638"/>
                        <a:pt x="386523" y="1180521"/>
                      </a:cubicBezTo>
                      <a:lnTo>
                        <a:pt x="532561" y="1299583"/>
                      </a:lnTo>
                      <a:lnTo>
                        <a:pt x="1786438" y="1102386"/>
                      </a:lnTo>
                      <a:lnTo>
                        <a:pt x="1786438" y="1072621"/>
                      </a:lnTo>
                      <a:close/>
                      <a:moveTo>
                        <a:pt x="0" y="0"/>
                      </a:moveTo>
                      <a:lnTo>
                        <a:pt x="2016224" y="0"/>
                      </a:lnTo>
                      <a:lnTo>
                        <a:pt x="2016224" y="2398025"/>
                      </a:lnTo>
                      <a:lnTo>
                        <a:pt x="0" y="2398025"/>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dirty="0"/>
                </a:p>
              </p:txBody>
            </p:sp>
            <p:sp>
              <p:nvSpPr>
                <p:cNvPr id="33" name="Свободна форма: фигура 30">
                  <a:extLst>
                    <a:ext uri="{FF2B5EF4-FFF2-40B4-BE49-F238E27FC236}">
                      <a16:creationId xmlns:a16="http://schemas.microsoft.com/office/drawing/2014/main" id="{A7E7A304-4DEA-27E9-EBA4-3E334D1FD7AA}"/>
                    </a:ext>
                  </a:extLst>
                </p:cNvPr>
                <p:cNvSpPr/>
                <p:nvPr/>
              </p:nvSpPr>
              <p:spPr bwMode="auto">
                <a:xfrm>
                  <a:off x="7508792" y="4713052"/>
                  <a:ext cx="1906587" cy="2317750"/>
                </a:xfrm>
                <a:custGeom>
                  <a:avLst/>
                  <a:gdLst/>
                  <a:ahLst/>
                  <a:cxnLst/>
                  <a:rect l="l" t="t" r="r" b="b"/>
                  <a:pathLst>
                    <a:path w="2016224" h="2398025">
                      <a:moveTo>
                        <a:pt x="270251" y="1784205"/>
                      </a:moveTo>
                      <a:lnTo>
                        <a:pt x="241416" y="1877223"/>
                      </a:lnTo>
                      <a:lnTo>
                        <a:pt x="246997" y="1890245"/>
                      </a:lnTo>
                      <a:lnTo>
                        <a:pt x="275832" y="1825133"/>
                      </a:lnTo>
                      <a:lnTo>
                        <a:pt x="259089" y="1905128"/>
                      </a:lnTo>
                      <a:lnTo>
                        <a:pt x="274902" y="1916290"/>
                      </a:lnTo>
                      <a:lnTo>
                        <a:pt x="297226" y="1840016"/>
                      </a:lnTo>
                      <a:lnTo>
                        <a:pt x="294436" y="1925592"/>
                      </a:lnTo>
                      <a:lnTo>
                        <a:pt x="312109" y="1931173"/>
                      </a:lnTo>
                      <a:lnTo>
                        <a:pt x="326992" y="1846527"/>
                      </a:lnTo>
                      <a:lnTo>
                        <a:pt x="335363" y="1933963"/>
                      </a:lnTo>
                      <a:lnTo>
                        <a:pt x="353967" y="1935824"/>
                      </a:lnTo>
                      <a:lnTo>
                        <a:pt x="363269" y="1848387"/>
                      </a:lnTo>
                      <a:lnTo>
                        <a:pt x="372570" y="1935824"/>
                      </a:lnTo>
                      <a:lnTo>
                        <a:pt x="391174" y="1933963"/>
                      </a:lnTo>
                      <a:lnTo>
                        <a:pt x="399545" y="1846527"/>
                      </a:lnTo>
                      <a:lnTo>
                        <a:pt x="414428" y="1931173"/>
                      </a:lnTo>
                      <a:lnTo>
                        <a:pt x="432102" y="1925592"/>
                      </a:lnTo>
                      <a:lnTo>
                        <a:pt x="429311" y="1840016"/>
                      </a:lnTo>
                      <a:lnTo>
                        <a:pt x="451635" y="1916290"/>
                      </a:lnTo>
                      <a:lnTo>
                        <a:pt x="467448" y="1905128"/>
                      </a:lnTo>
                      <a:lnTo>
                        <a:pt x="450705" y="1825133"/>
                      </a:lnTo>
                      <a:lnTo>
                        <a:pt x="479541" y="1890245"/>
                      </a:lnTo>
                      <a:lnTo>
                        <a:pt x="485122" y="1877223"/>
                      </a:lnTo>
                      <a:lnTo>
                        <a:pt x="456286" y="1784205"/>
                      </a:lnTo>
                      <a:cubicBezTo>
                        <a:pt x="452565" y="1815831"/>
                        <a:pt x="421559" y="1831644"/>
                        <a:pt x="363269" y="1831644"/>
                      </a:cubicBezTo>
                      <a:cubicBezTo>
                        <a:pt x="304978" y="1831644"/>
                        <a:pt x="273972" y="1815831"/>
                        <a:pt x="270251" y="1784205"/>
                      </a:cubicBezTo>
                      <a:close/>
                      <a:moveTo>
                        <a:pt x="345595" y="1719093"/>
                      </a:moveTo>
                      <a:cubicBezTo>
                        <a:pt x="328232" y="1720953"/>
                        <a:pt x="315209" y="1724674"/>
                        <a:pt x="306528" y="1730255"/>
                      </a:cubicBezTo>
                      <a:cubicBezTo>
                        <a:pt x="290405" y="1749478"/>
                        <a:pt x="280173" y="1764981"/>
                        <a:pt x="275832" y="1776764"/>
                      </a:cubicBezTo>
                      <a:cubicBezTo>
                        <a:pt x="281413" y="1807149"/>
                        <a:pt x="310559" y="1822342"/>
                        <a:pt x="363269" y="1822342"/>
                      </a:cubicBezTo>
                      <a:cubicBezTo>
                        <a:pt x="415978" y="1822342"/>
                        <a:pt x="445124" y="1807149"/>
                        <a:pt x="450705" y="1776764"/>
                      </a:cubicBezTo>
                      <a:cubicBezTo>
                        <a:pt x="441403" y="1753199"/>
                        <a:pt x="431171" y="1737696"/>
                        <a:pt x="420009" y="1730255"/>
                      </a:cubicBezTo>
                      <a:cubicBezTo>
                        <a:pt x="406367" y="1725914"/>
                        <a:pt x="393344" y="1722193"/>
                        <a:pt x="380942" y="1719093"/>
                      </a:cubicBezTo>
                      <a:cubicBezTo>
                        <a:pt x="379081" y="1726534"/>
                        <a:pt x="373190" y="1730255"/>
                        <a:pt x="363269" y="1730255"/>
                      </a:cubicBezTo>
                      <a:cubicBezTo>
                        <a:pt x="353347" y="1730255"/>
                        <a:pt x="347456" y="1726534"/>
                        <a:pt x="345595" y="1719093"/>
                      </a:cubicBezTo>
                      <a:close/>
                      <a:moveTo>
                        <a:pt x="1418088" y="1174940"/>
                      </a:moveTo>
                      <a:lnTo>
                        <a:pt x="530700" y="1318187"/>
                      </a:lnTo>
                      <a:lnTo>
                        <a:pt x="381872" y="1191683"/>
                      </a:lnTo>
                      <a:lnTo>
                        <a:pt x="381872" y="1289351"/>
                      </a:lnTo>
                      <a:cubicBezTo>
                        <a:pt x="409777" y="1291212"/>
                        <a:pt x="434582" y="1301444"/>
                        <a:pt x="456286" y="1320047"/>
                      </a:cubicBezTo>
                      <a:cubicBezTo>
                        <a:pt x="519538" y="1372757"/>
                        <a:pt x="565427" y="1449342"/>
                        <a:pt x="593952" y="1549801"/>
                      </a:cubicBezTo>
                      <a:cubicBezTo>
                        <a:pt x="605734" y="1591348"/>
                        <a:pt x="613796" y="1636307"/>
                        <a:pt x="618137" y="1684676"/>
                      </a:cubicBezTo>
                      <a:cubicBezTo>
                        <a:pt x="748981" y="1514144"/>
                        <a:pt x="908972" y="1411825"/>
                        <a:pt x="1098107" y="1377718"/>
                      </a:cubicBezTo>
                      <a:cubicBezTo>
                        <a:pt x="1128493" y="1372137"/>
                        <a:pt x="1158259" y="1369347"/>
                        <a:pt x="1187404" y="1369347"/>
                      </a:cubicBezTo>
                      <a:cubicBezTo>
                        <a:pt x="1344914" y="1369347"/>
                        <a:pt x="1477929" y="1437869"/>
                        <a:pt x="1586450" y="1574915"/>
                      </a:cubicBezTo>
                      <a:cubicBezTo>
                        <a:pt x="1594511" y="1448412"/>
                        <a:pt x="1574047" y="1349193"/>
                        <a:pt x="1525058" y="1277259"/>
                      </a:cubicBezTo>
                      <a:cubicBezTo>
                        <a:pt x="1475449" y="1223309"/>
                        <a:pt x="1439792" y="1189202"/>
                        <a:pt x="1418088" y="1174940"/>
                      </a:cubicBezTo>
                      <a:close/>
                      <a:moveTo>
                        <a:pt x="335363" y="1153546"/>
                      </a:moveTo>
                      <a:cubicBezTo>
                        <a:pt x="315519" y="1169049"/>
                        <a:pt x="300637" y="1183001"/>
                        <a:pt x="290715" y="1195404"/>
                      </a:cubicBezTo>
                      <a:cubicBezTo>
                        <a:pt x="260329" y="1248734"/>
                        <a:pt x="242346" y="1285321"/>
                        <a:pt x="236765" y="1305164"/>
                      </a:cubicBezTo>
                      <a:cubicBezTo>
                        <a:pt x="268391" y="1289661"/>
                        <a:pt x="304047" y="1282840"/>
                        <a:pt x="343735" y="1284701"/>
                      </a:cubicBezTo>
                      <a:lnTo>
                        <a:pt x="343735" y="1216798"/>
                      </a:lnTo>
                      <a:cubicBezTo>
                        <a:pt x="343115" y="1198194"/>
                        <a:pt x="343735" y="1179901"/>
                        <a:pt x="345595" y="1161917"/>
                      </a:cubicBezTo>
                      <a:close/>
                      <a:moveTo>
                        <a:pt x="832193" y="1017333"/>
                      </a:moveTo>
                      <a:cubicBezTo>
                        <a:pt x="830100" y="1016984"/>
                        <a:pt x="827891" y="1017120"/>
                        <a:pt x="825566" y="1017740"/>
                      </a:cubicBezTo>
                      <a:cubicBezTo>
                        <a:pt x="599223" y="1072931"/>
                        <a:pt x="450395" y="1109518"/>
                        <a:pt x="379081" y="1127501"/>
                      </a:cubicBezTo>
                      <a:cubicBezTo>
                        <a:pt x="364199" y="1131842"/>
                        <a:pt x="354897" y="1143624"/>
                        <a:pt x="351176" y="1162848"/>
                      </a:cubicBezTo>
                      <a:cubicBezTo>
                        <a:pt x="350556" y="1168429"/>
                        <a:pt x="350246" y="1187032"/>
                        <a:pt x="350246" y="1218658"/>
                      </a:cubicBezTo>
                      <a:lnTo>
                        <a:pt x="350246" y="1719093"/>
                      </a:lnTo>
                      <a:cubicBezTo>
                        <a:pt x="352727" y="1723433"/>
                        <a:pt x="357067" y="1725604"/>
                        <a:pt x="363269" y="1725604"/>
                      </a:cubicBezTo>
                      <a:cubicBezTo>
                        <a:pt x="368230" y="1726224"/>
                        <a:pt x="372880" y="1724054"/>
                        <a:pt x="377221" y="1719093"/>
                      </a:cubicBezTo>
                      <a:lnTo>
                        <a:pt x="377221" y="1182381"/>
                      </a:lnTo>
                      <a:cubicBezTo>
                        <a:pt x="377221" y="1163778"/>
                        <a:pt x="384042" y="1152926"/>
                        <a:pt x="397685" y="1149825"/>
                      </a:cubicBezTo>
                      <a:lnTo>
                        <a:pt x="847890" y="1033553"/>
                      </a:lnTo>
                      <a:cubicBezTo>
                        <a:pt x="843704" y="1023786"/>
                        <a:pt x="838472" y="1018380"/>
                        <a:pt x="832193" y="1017333"/>
                      </a:cubicBezTo>
                      <a:close/>
                      <a:moveTo>
                        <a:pt x="965092" y="873563"/>
                      </a:moveTo>
                      <a:lnTo>
                        <a:pt x="125144" y="941466"/>
                      </a:lnTo>
                      <a:lnTo>
                        <a:pt x="125144" y="958209"/>
                      </a:lnTo>
                      <a:lnTo>
                        <a:pt x="349316" y="1152616"/>
                      </a:lnTo>
                      <a:cubicBezTo>
                        <a:pt x="349936" y="1137733"/>
                        <a:pt x="359238" y="1128121"/>
                        <a:pt x="377221" y="1123780"/>
                      </a:cubicBezTo>
                      <a:lnTo>
                        <a:pt x="826496" y="1014950"/>
                      </a:lnTo>
                      <a:cubicBezTo>
                        <a:pt x="838898" y="1011849"/>
                        <a:pt x="848510" y="1018670"/>
                        <a:pt x="855332" y="1035413"/>
                      </a:cubicBezTo>
                      <a:lnTo>
                        <a:pt x="405126" y="1152616"/>
                      </a:lnTo>
                      <a:cubicBezTo>
                        <a:pt x="391484" y="1156336"/>
                        <a:pt x="385283" y="1165638"/>
                        <a:pt x="386523" y="1180521"/>
                      </a:cubicBezTo>
                      <a:lnTo>
                        <a:pt x="532561" y="1299583"/>
                      </a:lnTo>
                      <a:lnTo>
                        <a:pt x="1786438" y="1102386"/>
                      </a:lnTo>
                      <a:lnTo>
                        <a:pt x="1786438" y="1072621"/>
                      </a:lnTo>
                      <a:close/>
                      <a:moveTo>
                        <a:pt x="0" y="0"/>
                      </a:moveTo>
                      <a:lnTo>
                        <a:pt x="2016224" y="0"/>
                      </a:lnTo>
                      <a:lnTo>
                        <a:pt x="2016224" y="2398025"/>
                      </a:lnTo>
                      <a:lnTo>
                        <a:pt x="0" y="23980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dirty="0"/>
                </a:p>
              </p:txBody>
            </p:sp>
          </p:grpSp>
        </p:grpSp>
        <p:sp>
          <p:nvSpPr>
            <p:cNvPr id="26" name="TextBox 131">
              <a:extLst>
                <a:ext uri="{FF2B5EF4-FFF2-40B4-BE49-F238E27FC236}">
                  <a16:creationId xmlns:a16="http://schemas.microsoft.com/office/drawing/2014/main" id="{4EFE7832-BBE6-0C00-9DBA-61BF5AD29A89}"/>
                </a:ext>
              </a:extLst>
            </p:cNvPr>
            <p:cNvSpPr txBox="1"/>
            <p:nvPr/>
          </p:nvSpPr>
          <p:spPr>
            <a:xfrm>
              <a:off x="2435027" y="3886977"/>
              <a:ext cx="1535569" cy="270858"/>
            </a:xfrm>
            <a:prstGeom prst="rect">
              <a:avLst/>
            </a:prstGeom>
            <a:noFill/>
          </p:spPr>
          <p:txBody>
            <a:bodyPr wrap="square" rtlCol="0">
              <a:spAutoFit/>
            </a:bodyPr>
            <a:lstStyle/>
            <a:p>
              <a:pPr algn="just"/>
              <a:r>
                <a:rPr lang="bg-BG" sz="1100" dirty="0">
                  <a:latin typeface="Arial Narrow" panose="020B0606020202030204" pitchFamily="34" charset="0"/>
                </a:rPr>
                <a:t>ОБРАЗОВАНИЕ</a:t>
              </a:r>
            </a:p>
          </p:txBody>
        </p:sp>
        <p:sp>
          <p:nvSpPr>
            <p:cNvPr id="27" name="TextBox 132">
              <a:extLst>
                <a:ext uri="{FF2B5EF4-FFF2-40B4-BE49-F238E27FC236}">
                  <a16:creationId xmlns:a16="http://schemas.microsoft.com/office/drawing/2014/main" id="{A1505B83-B2A9-7209-A897-9D10A67568C3}"/>
                </a:ext>
              </a:extLst>
            </p:cNvPr>
            <p:cNvSpPr txBox="1"/>
            <p:nvPr/>
          </p:nvSpPr>
          <p:spPr>
            <a:xfrm>
              <a:off x="1624410" y="5254514"/>
              <a:ext cx="778394" cy="446119"/>
            </a:xfrm>
            <a:prstGeom prst="rect">
              <a:avLst/>
            </a:prstGeom>
            <a:noFill/>
          </p:spPr>
          <p:txBody>
            <a:bodyPr wrap="square" rtlCol="0">
              <a:spAutoFit/>
            </a:bodyPr>
            <a:lstStyle/>
            <a:p>
              <a:pPr algn="ctr"/>
              <a:r>
                <a:rPr lang="bg-BG" sz="1100" dirty="0">
                  <a:latin typeface="Arial Narrow" panose="020B0606020202030204" pitchFamily="34" charset="0"/>
                </a:rPr>
                <a:t>Средно</a:t>
              </a:r>
            </a:p>
            <a:p>
              <a:pPr algn="ctr"/>
              <a:r>
                <a:rPr lang="en-US" sz="1100" dirty="0">
                  <a:latin typeface="Arial Narrow" panose="020B0606020202030204" pitchFamily="34" charset="0"/>
                </a:rPr>
                <a:t>48.9</a:t>
              </a:r>
              <a:endParaRPr lang="bg-BG" sz="1100" dirty="0">
                <a:latin typeface="Arial Narrow" panose="020B0606020202030204" pitchFamily="34" charset="0"/>
              </a:endParaRPr>
            </a:p>
          </p:txBody>
        </p:sp>
        <p:sp>
          <p:nvSpPr>
            <p:cNvPr id="28" name="TextBox 133">
              <a:extLst>
                <a:ext uri="{FF2B5EF4-FFF2-40B4-BE49-F238E27FC236}">
                  <a16:creationId xmlns:a16="http://schemas.microsoft.com/office/drawing/2014/main" id="{252DA174-4618-B10D-C747-BD6D2EFAB6CD}"/>
                </a:ext>
              </a:extLst>
            </p:cNvPr>
            <p:cNvSpPr txBox="1"/>
            <p:nvPr/>
          </p:nvSpPr>
          <p:spPr>
            <a:xfrm>
              <a:off x="2608884" y="4348833"/>
              <a:ext cx="778394" cy="446119"/>
            </a:xfrm>
            <a:prstGeom prst="rect">
              <a:avLst/>
            </a:prstGeom>
            <a:noFill/>
          </p:spPr>
          <p:txBody>
            <a:bodyPr wrap="square" rtlCol="0">
              <a:spAutoFit/>
            </a:bodyPr>
            <a:lstStyle/>
            <a:p>
              <a:pPr algn="ctr"/>
              <a:r>
                <a:rPr lang="bg-BG" sz="1100" dirty="0">
                  <a:latin typeface="Arial Narrow" panose="020B0606020202030204" pitchFamily="34" charset="0"/>
                </a:rPr>
                <a:t>Основно</a:t>
              </a:r>
            </a:p>
            <a:p>
              <a:pPr algn="ctr"/>
              <a:r>
                <a:rPr lang="en-US" sz="1100" dirty="0">
                  <a:latin typeface="Arial Narrow" panose="020B0606020202030204" pitchFamily="34" charset="0"/>
                </a:rPr>
                <a:t>25.2</a:t>
              </a:r>
              <a:endParaRPr lang="bg-BG" sz="1100" dirty="0">
                <a:latin typeface="Arial Narrow" panose="020B0606020202030204" pitchFamily="34" charset="0"/>
              </a:endParaRPr>
            </a:p>
          </p:txBody>
        </p:sp>
        <p:sp>
          <p:nvSpPr>
            <p:cNvPr id="29" name="TextBox 134">
              <a:extLst>
                <a:ext uri="{FF2B5EF4-FFF2-40B4-BE49-F238E27FC236}">
                  <a16:creationId xmlns:a16="http://schemas.microsoft.com/office/drawing/2014/main" id="{A1D00E28-DD50-C749-2776-3334B8EDB6E6}"/>
                </a:ext>
              </a:extLst>
            </p:cNvPr>
            <p:cNvSpPr txBox="1"/>
            <p:nvPr/>
          </p:nvSpPr>
          <p:spPr>
            <a:xfrm>
              <a:off x="2996244" y="5380306"/>
              <a:ext cx="917678" cy="621381"/>
            </a:xfrm>
            <a:prstGeom prst="rect">
              <a:avLst/>
            </a:prstGeom>
            <a:noFill/>
          </p:spPr>
          <p:txBody>
            <a:bodyPr wrap="square" rtlCol="0">
              <a:spAutoFit/>
            </a:bodyPr>
            <a:lstStyle/>
            <a:p>
              <a:pPr algn="ctr"/>
              <a:r>
                <a:rPr lang="bg-BG" sz="1100" dirty="0">
                  <a:latin typeface="Arial Narrow" panose="020B0606020202030204" pitchFamily="34" charset="0"/>
                </a:rPr>
                <a:t>Висше и полувисше</a:t>
              </a:r>
            </a:p>
            <a:p>
              <a:pPr algn="ctr"/>
              <a:r>
                <a:rPr lang="en-US" sz="1100" dirty="0">
                  <a:latin typeface="Arial Narrow" panose="020B0606020202030204" pitchFamily="34" charset="0"/>
                </a:rPr>
                <a:t>25.9</a:t>
              </a:r>
              <a:endParaRPr lang="bg-BG" sz="1100" dirty="0">
                <a:latin typeface="Arial Narrow" panose="020B0606020202030204" pitchFamily="34" charset="0"/>
              </a:endParaRPr>
            </a:p>
          </p:txBody>
        </p:sp>
      </p:grpSp>
      <p:grpSp>
        <p:nvGrpSpPr>
          <p:cNvPr id="3" name="Group 2">
            <a:extLst>
              <a:ext uri="{FF2B5EF4-FFF2-40B4-BE49-F238E27FC236}">
                <a16:creationId xmlns:a16="http://schemas.microsoft.com/office/drawing/2014/main" id="{7121C27F-BBF7-CC8C-2EBA-45F5B5083421}"/>
              </a:ext>
            </a:extLst>
          </p:cNvPr>
          <p:cNvGrpSpPr/>
          <p:nvPr/>
        </p:nvGrpSpPr>
        <p:grpSpPr>
          <a:xfrm>
            <a:off x="4866118" y="1555392"/>
            <a:ext cx="244836" cy="1852348"/>
            <a:chOff x="3307711" y="1994955"/>
            <a:chExt cx="199895" cy="1484025"/>
          </a:xfrm>
        </p:grpSpPr>
        <p:sp>
          <p:nvSpPr>
            <p:cNvPr id="5" name="Freeform 98">
              <a:extLst>
                <a:ext uri="{FF2B5EF4-FFF2-40B4-BE49-F238E27FC236}">
                  <a16:creationId xmlns:a16="http://schemas.microsoft.com/office/drawing/2014/main" id="{86A97659-B529-B9F3-3B9B-0B6F89A435E0}"/>
                </a:ext>
              </a:extLst>
            </p:cNvPr>
            <p:cNvSpPr/>
            <p:nvPr/>
          </p:nvSpPr>
          <p:spPr>
            <a:xfrm>
              <a:off x="3348350" y="3212212"/>
              <a:ext cx="159256" cy="266768"/>
            </a:xfrm>
            <a:custGeom>
              <a:avLst/>
              <a:gdLst>
                <a:gd name="connsiteX0" fmla="*/ 363904 w 601863"/>
                <a:gd name="connsiteY0" fmla="*/ 815288 h 1245715"/>
                <a:gd name="connsiteX1" fmla="*/ 340694 w 601863"/>
                <a:gd name="connsiteY1" fmla="*/ 879057 h 1245715"/>
                <a:gd name="connsiteX2" fmla="*/ 363904 w 601863"/>
                <a:gd name="connsiteY2" fmla="*/ 815291 h 1245715"/>
                <a:gd name="connsiteX3" fmla="*/ 17789 w 601863"/>
                <a:gd name="connsiteY3" fmla="*/ 646960 h 1245715"/>
                <a:gd name="connsiteX4" fmla="*/ 48801 w 601863"/>
                <a:gd name="connsiteY4" fmla="*/ 646960 h 1245715"/>
                <a:gd name="connsiteX5" fmla="*/ 48801 w 601863"/>
                <a:gd name="connsiteY5" fmla="*/ 1245715 h 1245715"/>
                <a:gd name="connsiteX6" fmla="*/ 17789 w 601863"/>
                <a:gd name="connsiteY6" fmla="*/ 1245715 h 1245715"/>
                <a:gd name="connsiteX7" fmla="*/ 320994 w 601863"/>
                <a:gd name="connsiteY7" fmla="*/ 212543 h 1245715"/>
                <a:gd name="connsiteX8" fmla="*/ 362642 w 601863"/>
                <a:gd name="connsiteY8" fmla="*/ 220951 h 1245715"/>
                <a:gd name="connsiteX9" fmla="*/ 366379 w 601863"/>
                <a:gd name="connsiteY9" fmla="*/ 222980 h 1245715"/>
                <a:gd name="connsiteX10" fmla="*/ 367507 w 601863"/>
                <a:gd name="connsiteY10" fmla="*/ 223208 h 1245715"/>
                <a:gd name="connsiteX11" fmla="*/ 368876 w 601863"/>
                <a:gd name="connsiteY11" fmla="*/ 224335 h 1245715"/>
                <a:gd name="connsiteX12" fmla="*/ 380817 w 601863"/>
                <a:gd name="connsiteY12" fmla="*/ 230816 h 1245715"/>
                <a:gd name="connsiteX13" fmla="*/ 396652 w 601863"/>
                <a:gd name="connsiteY13" fmla="*/ 243882 h 1245715"/>
                <a:gd name="connsiteX14" fmla="*/ 405217 w 601863"/>
                <a:gd name="connsiteY14" fmla="*/ 254262 h 1245715"/>
                <a:gd name="connsiteX15" fmla="*/ 409763 w 601863"/>
                <a:gd name="connsiteY15" fmla="*/ 258006 h 1245715"/>
                <a:gd name="connsiteX16" fmla="*/ 584250 w 601863"/>
                <a:gd name="connsiteY16" fmla="*/ 469628 h 1245715"/>
                <a:gd name="connsiteX17" fmla="*/ 566420 w 601863"/>
                <a:gd name="connsiteY17" fmla="*/ 455340 h 1245715"/>
                <a:gd name="connsiteX18" fmla="*/ 584249 w 601863"/>
                <a:gd name="connsiteY18" fmla="*/ 469628 h 1245715"/>
                <a:gd name="connsiteX19" fmla="*/ 589119 w 601863"/>
                <a:gd name="connsiteY19" fmla="*/ 475534 h 1245715"/>
                <a:gd name="connsiteX20" fmla="*/ 597008 w 601863"/>
                <a:gd name="connsiteY20" fmla="*/ 495571 h 1245715"/>
                <a:gd name="connsiteX21" fmla="*/ 597009 w 601863"/>
                <a:gd name="connsiteY21" fmla="*/ 495570 h 1245715"/>
                <a:gd name="connsiteX22" fmla="*/ 599779 w 601863"/>
                <a:gd name="connsiteY22" fmla="*/ 502604 h 1245715"/>
                <a:gd name="connsiteX23" fmla="*/ 601059 w 601863"/>
                <a:gd name="connsiteY23" fmla="*/ 541190 h 1245715"/>
                <a:gd name="connsiteX24" fmla="*/ 600557 w 601863"/>
                <a:gd name="connsiteY24" fmla="*/ 543342 h 1245715"/>
                <a:gd name="connsiteX25" fmla="*/ 601862 w 601863"/>
                <a:gd name="connsiteY25" fmla="*/ 545154 h 1245715"/>
                <a:gd name="connsiteX26" fmla="*/ 599783 w 601863"/>
                <a:gd name="connsiteY26" fmla="*/ 546652 h 1245715"/>
                <a:gd name="connsiteX27" fmla="*/ 591019 w 601863"/>
                <a:gd name="connsiteY27" fmla="*/ 584213 h 1245715"/>
                <a:gd name="connsiteX28" fmla="*/ 469878 w 601863"/>
                <a:gd name="connsiteY28" fmla="*/ 917049 h 1245715"/>
                <a:gd name="connsiteX29" fmla="*/ 552163 w 601863"/>
                <a:gd name="connsiteY29" fmla="*/ 1156022 h 1245715"/>
                <a:gd name="connsiteX30" fmla="*/ 510507 w 601863"/>
                <a:gd name="connsiteY30" fmla="*/ 1241432 h 1245715"/>
                <a:gd name="connsiteX31" fmla="*/ 425098 w 601863"/>
                <a:gd name="connsiteY31" fmla="*/ 1199774 h 1245715"/>
                <a:gd name="connsiteX32" fmla="*/ 314599 w 601863"/>
                <a:gd name="connsiteY32" fmla="*/ 878865 h 1245715"/>
                <a:gd name="connsiteX33" fmla="*/ 387581 w 601863"/>
                <a:gd name="connsiteY33" fmla="*/ 678047 h 1245715"/>
                <a:gd name="connsiteX34" fmla="*/ 419394 w 601863"/>
                <a:gd name="connsiteY34" fmla="*/ 590648 h 1245715"/>
                <a:gd name="connsiteX35" fmla="*/ 422904 w 601863"/>
                <a:gd name="connsiteY35" fmla="*/ 595429 h 1245715"/>
                <a:gd name="connsiteX36" fmla="*/ 423036 w 601863"/>
                <a:gd name="connsiteY36" fmla="*/ 595063 h 1245715"/>
                <a:gd name="connsiteX37" fmla="*/ 419395 w 601863"/>
                <a:gd name="connsiteY37" fmla="*/ 590646 h 1245715"/>
                <a:gd name="connsiteX38" fmla="*/ 419392 w 601863"/>
                <a:gd name="connsiteY38" fmla="*/ 590646 h 1245715"/>
                <a:gd name="connsiteX39" fmla="*/ 286557 w 601863"/>
                <a:gd name="connsiteY39" fmla="*/ 429535 h 1245715"/>
                <a:gd name="connsiteX40" fmla="*/ 284516 w 601863"/>
                <a:gd name="connsiteY40" fmla="*/ 429123 h 1245715"/>
                <a:gd name="connsiteX41" fmla="*/ 248444 w 601863"/>
                <a:gd name="connsiteY41" fmla="*/ 528232 h 1245715"/>
                <a:gd name="connsiteX42" fmla="*/ 75963 w 601863"/>
                <a:gd name="connsiteY42" fmla="*/ 619940 h 1245715"/>
                <a:gd name="connsiteX43" fmla="*/ 6061 w 601863"/>
                <a:gd name="connsiteY43" fmla="*/ 598570 h 1245715"/>
                <a:gd name="connsiteX44" fmla="*/ 27433 w 601863"/>
                <a:gd name="connsiteY44" fmla="*/ 528666 h 1245715"/>
                <a:gd name="connsiteX45" fmla="*/ 164875 w 601863"/>
                <a:gd name="connsiteY45" fmla="*/ 455586 h 1245715"/>
                <a:gd name="connsiteX46" fmla="*/ 164875 w 601863"/>
                <a:gd name="connsiteY46" fmla="*/ 455587 h 1245715"/>
                <a:gd name="connsiteX47" fmla="*/ 164876 w 601863"/>
                <a:gd name="connsiteY47" fmla="*/ 455586 h 1245715"/>
                <a:gd name="connsiteX48" fmla="*/ 214082 w 601863"/>
                <a:gd name="connsiteY48" fmla="*/ 320395 h 1245715"/>
                <a:gd name="connsiteX49" fmla="*/ 213996 w 601863"/>
                <a:gd name="connsiteY49" fmla="*/ 319541 h 1245715"/>
                <a:gd name="connsiteX50" fmla="*/ 320994 w 601863"/>
                <a:gd name="connsiteY50" fmla="*/ 212543 h 1245715"/>
                <a:gd name="connsiteX51" fmla="*/ 165544 w 601863"/>
                <a:gd name="connsiteY51" fmla="*/ 0 h 1245715"/>
                <a:gd name="connsiteX52" fmla="*/ 288032 w 601863"/>
                <a:gd name="connsiteY52" fmla="*/ 122488 h 1245715"/>
                <a:gd name="connsiteX53" fmla="*/ 165544 w 601863"/>
                <a:gd name="connsiteY53" fmla="*/ 244976 h 1245715"/>
                <a:gd name="connsiteX54" fmla="*/ 43056 w 601863"/>
                <a:gd name="connsiteY54" fmla="*/ 122488 h 1245715"/>
                <a:gd name="connsiteX55" fmla="*/ 165544 w 601863"/>
                <a:gd name="connsiteY55" fmla="*/ 0 h 12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1863" h="1245715">
                  <a:moveTo>
                    <a:pt x="363904" y="815288"/>
                  </a:moveTo>
                  <a:lnTo>
                    <a:pt x="340694" y="879057"/>
                  </a:lnTo>
                  <a:lnTo>
                    <a:pt x="363904" y="815291"/>
                  </a:lnTo>
                  <a:close/>
                  <a:moveTo>
                    <a:pt x="17789" y="646960"/>
                  </a:moveTo>
                  <a:lnTo>
                    <a:pt x="48801" y="646960"/>
                  </a:lnTo>
                  <a:lnTo>
                    <a:pt x="48801" y="1245715"/>
                  </a:lnTo>
                  <a:lnTo>
                    <a:pt x="17789" y="1245715"/>
                  </a:lnTo>
                  <a:close/>
                  <a:moveTo>
                    <a:pt x="320994" y="212543"/>
                  </a:moveTo>
                  <a:cubicBezTo>
                    <a:pt x="335767" y="212543"/>
                    <a:pt x="349841" y="215537"/>
                    <a:pt x="362642" y="220951"/>
                  </a:cubicBezTo>
                  <a:lnTo>
                    <a:pt x="366379" y="222980"/>
                  </a:lnTo>
                  <a:lnTo>
                    <a:pt x="367507" y="223208"/>
                  </a:lnTo>
                  <a:lnTo>
                    <a:pt x="368876" y="224335"/>
                  </a:lnTo>
                  <a:lnTo>
                    <a:pt x="380817" y="230816"/>
                  </a:lnTo>
                  <a:cubicBezTo>
                    <a:pt x="386509" y="234662"/>
                    <a:pt x="391811" y="239041"/>
                    <a:pt x="396652" y="243882"/>
                  </a:cubicBezTo>
                  <a:lnTo>
                    <a:pt x="405217" y="254262"/>
                  </a:lnTo>
                  <a:lnTo>
                    <a:pt x="409763" y="258006"/>
                  </a:lnTo>
                  <a:lnTo>
                    <a:pt x="584250" y="469628"/>
                  </a:lnTo>
                  <a:lnTo>
                    <a:pt x="566420" y="455340"/>
                  </a:lnTo>
                  <a:lnTo>
                    <a:pt x="584249" y="469628"/>
                  </a:lnTo>
                  <a:lnTo>
                    <a:pt x="589119" y="475534"/>
                  </a:lnTo>
                  <a:lnTo>
                    <a:pt x="597008" y="495571"/>
                  </a:lnTo>
                  <a:lnTo>
                    <a:pt x="597009" y="495570"/>
                  </a:lnTo>
                  <a:lnTo>
                    <a:pt x="599779" y="502604"/>
                  </a:lnTo>
                  <a:cubicBezTo>
                    <a:pt x="602004" y="514265"/>
                    <a:pt x="602475" y="527358"/>
                    <a:pt x="601059" y="541190"/>
                  </a:cubicBezTo>
                  <a:lnTo>
                    <a:pt x="600557" y="543342"/>
                  </a:lnTo>
                  <a:lnTo>
                    <a:pt x="601862" y="545154"/>
                  </a:lnTo>
                  <a:lnTo>
                    <a:pt x="599783" y="546652"/>
                  </a:lnTo>
                  <a:lnTo>
                    <a:pt x="591019" y="584213"/>
                  </a:lnTo>
                  <a:lnTo>
                    <a:pt x="469878" y="917049"/>
                  </a:lnTo>
                  <a:lnTo>
                    <a:pt x="552163" y="1156022"/>
                  </a:lnTo>
                  <a:cubicBezTo>
                    <a:pt x="564245" y="1191110"/>
                    <a:pt x="545595" y="1229350"/>
                    <a:pt x="510507" y="1241432"/>
                  </a:cubicBezTo>
                  <a:cubicBezTo>
                    <a:pt x="475418" y="1253512"/>
                    <a:pt x="437180" y="1234862"/>
                    <a:pt x="425098" y="1199774"/>
                  </a:cubicBezTo>
                  <a:lnTo>
                    <a:pt x="314599" y="878865"/>
                  </a:lnTo>
                  <a:cubicBezTo>
                    <a:pt x="324642" y="839238"/>
                    <a:pt x="374961" y="710193"/>
                    <a:pt x="387581" y="678047"/>
                  </a:cubicBezTo>
                  <a:lnTo>
                    <a:pt x="419394" y="590648"/>
                  </a:lnTo>
                  <a:lnTo>
                    <a:pt x="422904" y="595429"/>
                  </a:lnTo>
                  <a:lnTo>
                    <a:pt x="423036" y="595063"/>
                  </a:lnTo>
                  <a:lnTo>
                    <a:pt x="419395" y="590646"/>
                  </a:lnTo>
                  <a:lnTo>
                    <a:pt x="419392" y="590646"/>
                  </a:lnTo>
                  <a:lnTo>
                    <a:pt x="286557" y="429535"/>
                  </a:lnTo>
                  <a:lnTo>
                    <a:pt x="284516" y="429123"/>
                  </a:lnTo>
                  <a:lnTo>
                    <a:pt x="248444" y="528232"/>
                  </a:lnTo>
                  <a:lnTo>
                    <a:pt x="75963" y="619940"/>
                  </a:lnTo>
                  <a:cubicBezTo>
                    <a:pt x="50761" y="623582"/>
                    <a:pt x="19462" y="623773"/>
                    <a:pt x="6061" y="598570"/>
                  </a:cubicBezTo>
                  <a:cubicBezTo>
                    <a:pt x="-7342" y="573365"/>
                    <a:pt x="2227" y="542068"/>
                    <a:pt x="27433" y="528666"/>
                  </a:cubicBezTo>
                  <a:lnTo>
                    <a:pt x="164875" y="455586"/>
                  </a:lnTo>
                  <a:lnTo>
                    <a:pt x="164875" y="455587"/>
                  </a:lnTo>
                  <a:lnTo>
                    <a:pt x="164876" y="455586"/>
                  </a:lnTo>
                  <a:lnTo>
                    <a:pt x="214082" y="320395"/>
                  </a:lnTo>
                  <a:lnTo>
                    <a:pt x="213996" y="319541"/>
                  </a:lnTo>
                  <a:cubicBezTo>
                    <a:pt x="213996" y="260447"/>
                    <a:pt x="261900" y="212543"/>
                    <a:pt x="320994" y="212543"/>
                  </a:cubicBezTo>
                  <a:close/>
                  <a:moveTo>
                    <a:pt x="165544" y="0"/>
                  </a:moveTo>
                  <a:cubicBezTo>
                    <a:pt x="233192" y="0"/>
                    <a:pt x="288032" y="54840"/>
                    <a:pt x="288032" y="122488"/>
                  </a:cubicBezTo>
                  <a:cubicBezTo>
                    <a:pt x="288032" y="190136"/>
                    <a:pt x="233192" y="244976"/>
                    <a:pt x="165544" y="244976"/>
                  </a:cubicBezTo>
                  <a:cubicBezTo>
                    <a:pt x="97896" y="244976"/>
                    <a:pt x="43056" y="190136"/>
                    <a:pt x="43056" y="122488"/>
                  </a:cubicBezTo>
                  <a:cubicBezTo>
                    <a:pt x="43056" y="54840"/>
                    <a:pt x="97896" y="0"/>
                    <a:pt x="16554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a:p>
          </p:txBody>
        </p:sp>
        <p:sp>
          <p:nvSpPr>
            <p:cNvPr id="36" name="Freeform 99">
              <a:extLst>
                <a:ext uri="{FF2B5EF4-FFF2-40B4-BE49-F238E27FC236}">
                  <a16:creationId xmlns:a16="http://schemas.microsoft.com/office/drawing/2014/main" id="{F38E6D9F-F1A0-163C-7DE5-6F3E49ABC98E}"/>
                </a:ext>
              </a:extLst>
            </p:cNvPr>
            <p:cNvSpPr/>
            <p:nvPr/>
          </p:nvSpPr>
          <p:spPr>
            <a:xfrm>
              <a:off x="3328875" y="1994955"/>
              <a:ext cx="113431" cy="266601"/>
            </a:xfrm>
            <a:custGeom>
              <a:avLst/>
              <a:gdLst>
                <a:gd name="connsiteX0" fmla="*/ 53398 w 319003"/>
                <a:gd name="connsiteY0" fmla="*/ 181135 h 627121"/>
                <a:gd name="connsiteX1" fmla="*/ 56882 w 319003"/>
                <a:gd name="connsiteY1" fmla="*/ 181135 h 627121"/>
                <a:gd name="connsiteX2" fmla="*/ 75997 w 319003"/>
                <a:gd name="connsiteY2" fmla="*/ 181135 h 627121"/>
                <a:gd name="connsiteX3" fmla="*/ 243006 w 319003"/>
                <a:gd name="connsiteY3" fmla="*/ 181135 h 627121"/>
                <a:gd name="connsiteX4" fmla="*/ 262121 w 319003"/>
                <a:gd name="connsiteY4" fmla="*/ 181135 h 627121"/>
                <a:gd name="connsiteX5" fmla="*/ 265605 w 319003"/>
                <a:gd name="connsiteY5" fmla="*/ 181135 h 627121"/>
                <a:gd name="connsiteX6" fmla="*/ 319003 w 319003"/>
                <a:gd name="connsiteY6" fmla="*/ 246586 h 627121"/>
                <a:gd name="connsiteX7" fmla="*/ 319003 w 319003"/>
                <a:gd name="connsiteY7" fmla="*/ 320515 h 627121"/>
                <a:gd name="connsiteX8" fmla="*/ 319003 w 319003"/>
                <a:gd name="connsiteY8" fmla="*/ 321623 h 627121"/>
                <a:gd name="connsiteX9" fmla="*/ 319003 w 319003"/>
                <a:gd name="connsiteY9" fmla="*/ 378149 h 627121"/>
                <a:gd name="connsiteX10" fmla="*/ 290562 w 319003"/>
                <a:gd name="connsiteY10" fmla="*/ 413010 h 627121"/>
                <a:gd name="connsiteX11" fmla="*/ 264356 w 319003"/>
                <a:gd name="connsiteY11" fmla="*/ 391718 h 627121"/>
                <a:gd name="connsiteX12" fmla="*/ 263823 w 319003"/>
                <a:gd name="connsiteY12" fmla="*/ 388486 h 627121"/>
                <a:gd name="connsiteX13" fmla="*/ 263940 w 319003"/>
                <a:gd name="connsiteY13" fmla="*/ 388142 h 627121"/>
                <a:gd name="connsiteX14" fmla="*/ 263940 w 319003"/>
                <a:gd name="connsiteY14" fmla="*/ 321623 h 627121"/>
                <a:gd name="connsiteX15" fmla="*/ 263940 w 319003"/>
                <a:gd name="connsiteY15" fmla="*/ 320515 h 627121"/>
                <a:gd name="connsiteX16" fmla="*/ 263940 w 319003"/>
                <a:gd name="connsiteY16" fmla="*/ 293967 h 627121"/>
                <a:gd name="connsiteX17" fmla="*/ 252563 w 319003"/>
                <a:gd name="connsiteY17" fmla="*/ 280022 h 627121"/>
                <a:gd name="connsiteX18" fmla="*/ 244519 w 319003"/>
                <a:gd name="connsiteY18" fmla="*/ 284107 h 627121"/>
                <a:gd name="connsiteX19" fmla="*/ 243006 w 319003"/>
                <a:gd name="connsiteY19" fmla="*/ 288584 h 627121"/>
                <a:gd name="connsiteX20" fmla="*/ 243006 w 319003"/>
                <a:gd name="connsiteY20" fmla="*/ 320515 h 627121"/>
                <a:gd name="connsiteX21" fmla="*/ 243006 w 319003"/>
                <a:gd name="connsiteY21" fmla="*/ 321623 h 627121"/>
                <a:gd name="connsiteX22" fmla="*/ 243006 w 319003"/>
                <a:gd name="connsiteY22" fmla="*/ 413010 h 627121"/>
                <a:gd name="connsiteX23" fmla="*/ 243006 w 319003"/>
                <a:gd name="connsiteY23" fmla="*/ 511899 h 627121"/>
                <a:gd name="connsiteX24" fmla="*/ 243006 w 319003"/>
                <a:gd name="connsiteY24" fmla="*/ 514969 h 627121"/>
                <a:gd name="connsiteX25" fmla="*/ 243006 w 319003"/>
                <a:gd name="connsiteY25" fmla="*/ 581802 h 627121"/>
                <a:gd name="connsiteX26" fmla="*/ 206032 w 319003"/>
                <a:gd name="connsiteY26" fmla="*/ 627121 h 627121"/>
                <a:gd name="connsiteX27" fmla="*/ 169059 w 319003"/>
                <a:gd name="connsiteY27" fmla="*/ 581802 h 627121"/>
                <a:gd name="connsiteX28" fmla="*/ 169059 w 319003"/>
                <a:gd name="connsiteY28" fmla="*/ 514969 h 627121"/>
                <a:gd name="connsiteX29" fmla="*/ 169059 w 319003"/>
                <a:gd name="connsiteY29" fmla="*/ 511899 h 627121"/>
                <a:gd name="connsiteX30" fmla="*/ 169059 w 319003"/>
                <a:gd name="connsiteY30" fmla="*/ 413010 h 627121"/>
                <a:gd name="connsiteX31" fmla="*/ 149944 w 319003"/>
                <a:gd name="connsiteY31" fmla="*/ 413010 h 627121"/>
                <a:gd name="connsiteX32" fmla="*/ 149944 w 319003"/>
                <a:gd name="connsiteY32" fmla="*/ 511899 h 627121"/>
                <a:gd name="connsiteX33" fmla="*/ 149944 w 319003"/>
                <a:gd name="connsiteY33" fmla="*/ 514969 h 627121"/>
                <a:gd name="connsiteX34" fmla="*/ 149944 w 319003"/>
                <a:gd name="connsiteY34" fmla="*/ 581802 h 627121"/>
                <a:gd name="connsiteX35" fmla="*/ 112971 w 319003"/>
                <a:gd name="connsiteY35" fmla="*/ 627121 h 627121"/>
                <a:gd name="connsiteX36" fmla="*/ 75997 w 319003"/>
                <a:gd name="connsiteY36" fmla="*/ 581802 h 627121"/>
                <a:gd name="connsiteX37" fmla="*/ 75997 w 319003"/>
                <a:gd name="connsiteY37" fmla="*/ 514969 h 627121"/>
                <a:gd name="connsiteX38" fmla="*/ 75997 w 319003"/>
                <a:gd name="connsiteY38" fmla="*/ 511899 h 627121"/>
                <a:gd name="connsiteX39" fmla="*/ 75997 w 319003"/>
                <a:gd name="connsiteY39" fmla="*/ 413010 h 627121"/>
                <a:gd name="connsiteX40" fmla="*/ 75997 w 319003"/>
                <a:gd name="connsiteY40" fmla="*/ 321623 h 627121"/>
                <a:gd name="connsiteX41" fmla="*/ 75997 w 319003"/>
                <a:gd name="connsiteY41" fmla="*/ 320515 h 627121"/>
                <a:gd name="connsiteX42" fmla="*/ 75997 w 319003"/>
                <a:gd name="connsiteY42" fmla="*/ 288583 h 627121"/>
                <a:gd name="connsiteX43" fmla="*/ 74485 w 319003"/>
                <a:gd name="connsiteY43" fmla="*/ 284107 h 627121"/>
                <a:gd name="connsiteX44" fmla="*/ 66440 w 319003"/>
                <a:gd name="connsiteY44" fmla="*/ 280022 h 627121"/>
                <a:gd name="connsiteX45" fmla="*/ 55063 w 319003"/>
                <a:gd name="connsiteY45" fmla="*/ 293967 h 627121"/>
                <a:gd name="connsiteX46" fmla="*/ 55063 w 319003"/>
                <a:gd name="connsiteY46" fmla="*/ 320515 h 627121"/>
                <a:gd name="connsiteX47" fmla="*/ 55063 w 319003"/>
                <a:gd name="connsiteY47" fmla="*/ 321623 h 627121"/>
                <a:gd name="connsiteX48" fmla="*/ 55063 w 319003"/>
                <a:gd name="connsiteY48" fmla="*/ 388142 h 627121"/>
                <a:gd name="connsiteX49" fmla="*/ 55180 w 319003"/>
                <a:gd name="connsiteY49" fmla="*/ 388486 h 627121"/>
                <a:gd name="connsiteX50" fmla="*/ 54647 w 319003"/>
                <a:gd name="connsiteY50" fmla="*/ 391718 h 627121"/>
                <a:gd name="connsiteX51" fmla="*/ 28441 w 319003"/>
                <a:gd name="connsiteY51" fmla="*/ 413010 h 627121"/>
                <a:gd name="connsiteX52" fmla="*/ 0 w 319003"/>
                <a:gd name="connsiteY52" fmla="*/ 378149 h 627121"/>
                <a:gd name="connsiteX53" fmla="*/ 0 w 319003"/>
                <a:gd name="connsiteY53" fmla="*/ 321623 h 627121"/>
                <a:gd name="connsiteX54" fmla="*/ 0 w 319003"/>
                <a:gd name="connsiteY54" fmla="*/ 320515 h 627121"/>
                <a:gd name="connsiteX55" fmla="*/ 0 w 319003"/>
                <a:gd name="connsiteY55" fmla="*/ 246586 h 627121"/>
                <a:gd name="connsiteX56" fmla="*/ 53398 w 319003"/>
                <a:gd name="connsiteY56" fmla="*/ 181135 h 627121"/>
                <a:gd name="connsiteX57" fmla="*/ 159501 w 319003"/>
                <a:gd name="connsiteY57" fmla="*/ 0 h 627121"/>
                <a:gd name="connsiteX58" fmla="*/ 241797 w 319003"/>
                <a:gd name="connsiteY58" fmla="*/ 82296 h 627121"/>
                <a:gd name="connsiteX59" fmla="*/ 159501 w 319003"/>
                <a:gd name="connsiteY59" fmla="*/ 164592 h 627121"/>
                <a:gd name="connsiteX60" fmla="*/ 77205 w 319003"/>
                <a:gd name="connsiteY60" fmla="*/ 82296 h 627121"/>
                <a:gd name="connsiteX61" fmla="*/ 159501 w 319003"/>
                <a:gd name="connsiteY61" fmla="*/ 0 h 62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9003" h="627121">
                  <a:moveTo>
                    <a:pt x="53398" y="181135"/>
                  </a:moveTo>
                  <a:lnTo>
                    <a:pt x="56882" y="181135"/>
                  </a:lnTo>
                  <a:lnTo>
                    <a:pt x="75997" y="181135"/>
                  </a:lnTo>
                  <a:lnTo>
                    <a:pt x="243006" y="181135"/>
                  </a:lnTo>
                  <a:lnTo>
                    <a:pt x="262121" y="181135"/>
                  </a:lnTo>
                  <a:lnTo>
                    <a:pt x="265605" y="181135"/>
                  </a:lnTo>
                  <a:cubicBezTo>
                    <a:pt x="295096" y="181135"/>
                    <a:pt x="319003" y="210438"/>
                    <a:pt x="319003" y="246586"/>
                  </a:cubicBezTo>
                  <a:lnTo>
                    <a:pt x="319003" y="320515"/>
                  </a:lnTo>
                  <a:lnTo>
                    <a:pt x="319003" y="321623"/>
                  </a:lnTo>
                  <a:lnTo>
                    <a:pt x="319003" y="378149"/>
                  </a:lnTo>
                  <a:cubicBezTo>
                    <a:pt x="319003" y="397402"/>
                    <a:pt x="306269" y="413010"/>
                    <a:pt x="290562" y="413010"/>
                  </a:cubicBezTo>
                  <a:cubicBezTo>
                    <a:pt x="278782" y="413010"/>
                    <a:pt x="268674" y="404231"/>
                    <a:pt x="264356" y="391718"/>
                  </a:cubicBezTo>
                  <a:lnTo>
                    <a:pt x="263823" y="388486"/>
                  </a:lnTo>
                  <a:lnTo>
                    <a:pt x="263940" y="388142"/>
                  </a:lnTo>
                  <a:lnTo>
                    <a:pt x="263940" y="321623"/>
                  </a:lnTo>
                  <a:lnTo>
                    <a:pt x="263940" y="320515"/>
                  </a:lnTo>
                  <a:lnTo>
                    <a:pt x="263940" y="293967"/>
                  </a:lnTo>
                  <a:cubicBezTo>
                    <a:pt x="263940" y="286265"/>
                    <a:pt x="258846" y="280022"/>
                    <a:pt x="252563" y="280022"/>
                  </a:cubicBezTo>
                  <a:cubicBezTo>
                    <a:pt x="249422" y="280022"/>
                    <a:pt x="246578" y="281583"/>
                    <a:pt x="244519" y="284107"/>
                  </a:cubicBezTo>
                  <a:lnTo>
                    <a:pt x="243006" y="288584"/>
                  </a:lnTo>
                  <a:lnTo>
                    <a:pt x="243006" y="320515"/>
                  </a:lnTo>
                  <a:lnTo>
                    <a:pt x="243006" y="321623"/>
                  </a:lnTo>
                  <a:lnTo>
                    <a:pt x="243006" y="413010"/>
                  </a:lnTo>
                  <a:lnTo>
                    <a:pt x="243006" y="511899"/>
                  </a:lnTo>
                  <a:lnTo>
                    <a:pt x="243006" y="514969"/>
                  </a:lnTo>
                  <a:lnTo>
                    <a:pt x="243006" y="581802"/>
                  </a:lnTo>
                  <a:cubicBezTo>
                    <a:pt x="243006" y="606831"/>
                    <a:pt x="226453" y="627121"/>
                    <a:pt x="206032" y="627121"/>
                  </a:cubicBezTo>
                  <a:cubicBezTo>
                    <a:pt x="185612" y="627121"/>
                    <a:pt x="169059" y="606831"/>
                    <a:pt x="169059" y="581802"/>
                  </a:cubicBezTo>
                  <a:lnTo>
                    <a:pt x="169059" y="514969"/>
                  </a:lnTo>
                  <a:lnTo>
                    <a:pt x="169059" y="511899"/>
                  </a:lnTo>
                  <a:lnTo>
                    <a:pt x="169059" y="413010"/>
                  </a:lnTo>
                  <a:lnTo>
                    <a:pt x="149944" y="413010"/>
                  </a:lnTo>
                  <a:lnTo>
                    <a:pt x="149944" y="511899"/>
                  </a:lnTo>
                  <a:lnTo>
                    <a:pt x="149944" y="514969"/>
                  </a:lnTo>
                  <a:lnTo>
                    <a:pt x="149944" y="581802"/>
                  </a:lnTo>
                  <a:cubicBezTo>
                    <a:pt x="149944" y="606831"/>
                    <a:pt x="133391" y="627121"/>
                    <a:pt x="112971" y="627121"/>
                  </a:cubicBezTo>
                  <a:cubicBezTo>
                    <a:pt x="92551" y="627121"/>
                    <a:pt x="75997" y="606831"/>
                    <a:pt x="75997" y="581802"/>
                  </a:cubicBezTo>
                  <a:lnTo>
                    <a:pt x="75997" y="514969"/>
                  </a:lnTo>
                  <a:lnTo>
                    <a:pt x="75997" y="511899"/>
                  </a:lnTo>
                  <a:lnTo>
                    <a:pt x="75997" y="413010"/>
                  </a:lnTo>
                  <a:lnTo>
                    <a:pt x="75997" y="321623"/>
                  </a:lnTo>
                  <a:lnTo>
                    <a:pt x="75997" y="320515"/>
                  </a:lnTo>
                  <a:lnTo>
                    <a:pt x="75997" y="288583"/>
                  </a:lnTo>
                  <a:lnTo>
                    <a:pt x="74485" y="284107"/>
                  </a:lnTo>
                  <a:cubicBezTo>
                    <a:pt x="72425" y="281583"/>
                    <a:pt x="69581" y="280022"/>
                    <a:pt x="66440" y="280022"/>
                  </a:cubicBezTo>
                  <a:cubicBezTo>
                    <a:pt x="60157" y="280022"/>
                    <a:pt x="55063" y="286265"/>
                    <a:pt x="55063" y="293967"/>
                  </a:cubicBezTo>
                  <a:lnTo>
                    <a:pt x="55063" y="320515"/>
                  </a:lnTo>
                  <a:lnTo>
                    <a:pt x="55063" y="321623"/>
                  </a:lnTo>
                  <a:lnTo>
                    <a:pt x="55063" y="388142"/>
                  </a:lnTo>
                  <a:lnTo>
                    <a:pt x="55180" y="388486"/>
                  </a:lnTo>
                  <a:lnTo>
                    <a:pt x="54647" y="391718"/>
                  </a:lnTo>
                  <a:cubicBezTo>
                    <a:pt x="50330" y="404231"/>
                    <a:pt x="40222" y="413010"/>
                    <a:pt x="28441" y="413010"/>
                  </a:cubicBezTo>
                  <a:cubicBezTo>
                    <a:pt x="12734" y="413010"/>
                    <a:pt x="0" y="397402"/>
                    <a:pt x="0" y="378149"/>
                  </a:cubicBezTo>
                  <a:lnTo>
                    <a:pt x="0" y="321623"/>
                  </a:lnTo>
                  <a:lnTo>
                    <a:pt x="0" y="320515"/>
                  </a:lnTo>
                  <a:lnTo>
                    <a:pt x="0" y="246586"/>
                  </a:lnTo>
                  <a:cubicBezTo>
                    <a:pt x="0" y="210438"/>
                    <a:pt x="23907" y="181135"/>
                    <a:pt x="53398" y="181135"/>
                  </a:cubicBezTo>
                  <a:close/>
                  <a:moveTo>
                    <a:pt x="159501" y="0"/>
                  </a:moveTo>
                  <a:cubicBezTo>
                    <a:pt x="204952" y="0"/>
                    <a:pt x="241797" y="36845"/>
                    <a:pt x="241797" y="82296"/>
                  </a:cubicBezTo>
                  <a:cubicBezTo>
                    <a:pt x="241797" y="127747"/>
                    <a:pt x="204952" y="164592"/>
                    <a:pt x="159501" y="164592"/>
                  </a:cubicBezTo>
                  <a:cubicBezTo>
                    <a:pt x="114051" y="164592"/>
                    <a:pt x="77205" y="127747"/>
                    <a:pt x="77205" y="82296"/>
                  </a:cubicBezTo>
                  <a:cubicBezTo>
                    <a:pt x="77205" y="36845"/>
                    <a:pt x="114051" y="0"/>
                    <a:pt x="159501" y="0"/>
                  </a:cubicBezTo>
                  <a:close/>
                </a:path>
              </a:pathLst>
            </a:custGeom>
            <a:solidFill>
              <a:schemeClr val="accent1"/>
            </a:solidFill>
            <a:ln w="25400" cap="flat" cmpd="sng" algn="ctr">
              <a:noFill/>
              <a:prstDash val="solid"/>
            </a:ln>
            <a:effectLst/>
          </p:spPr>
          <p:txBody>
            <a:bodyPr rtlCol="0" anchor="ctr"/>
            <a:lstStyle/>
            <a:p>
              <a:pPr algn="ctr" defTabSz="829544">
                <a:defRPr/>
              </a:pPr>
              <a:endParaRPr lang="en-US" sz="1225" kern="0" dirty="0">
                <a:solidFill>
                  <a:prstClr val="white"/>
                </a:solidFill>
                <a:latin typeface="Calibri"/>
              </a:endParaRPr>
            </a:p>
          </p:txBody>
        </p:sp>
        <p:sp>
          <p:nvSpPr>
            <p:cNvPr id="37" name="Freeform 100">
              <a:extLst>
                <a:ext uri="{FF2B5EF4-FFF2-40B4-BE49-F238E27FC236}">
                  <a16:creationId xmlns:a16="http://schemas.microsoft.com/office/drawing/2014/main" id="{C04BD912-6A39-B8FC-9EF7-0DD3840F6229}"/>
                </a:ext>
              </a:extLst>
            </p:cNvPr>
            <p:cNvSpPr/>
            <p:nvPr/>
          </p:nvSpPr>
          <p:spPr>
            <a:xfrm>
              <a:off x="3307711" y="2566345"/>
              <a:ext cx="168821" cy="330925"/>
            </a:xfrm>
            <a:custGeom>
              <a:avLst/>
              <a:gdLst>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630951 h 1291595"/>
                <a:gd name="connsiteX17" fmla="*/ 390640 w 512808"/>
                <a:gd name="connsiteY17" fmla="*/ 768598 h 1291595"/>
                <a:gd name="connsiteX18" fmla="*/ 390640 w 512808"/>
                <a:gd name="connsiteY18" fmla="*/ 1232159 h 1291595"/>
                <a:gd name="connsiteX19" fmla="*/ 331204 w 512808"/>
                <a:gd name="connsiteY19" fmla="*/ 1291595 h 1291595"/>
                <a:gd name="connsiteX20" fmla="*/ 271768 w 512808"/>
                <a:gd name="connsiteY20" fmla="*/ 1232159 h 1291595"/>
                <a:gd name="connsiteX21" fmla="*/ 271768 w 512808"/>
                <a:gd name="connsiteY21" fmla="*/ 768598 h 1291595"/>
                <a:gd name="connsiteX22" fmla="*/ 241040 w 512808"/>
                <a:gd name="connsiteY22" fmla="*/ 768598 h 1291595"/>
                <a:gd name="connsiteX23" fmla="*/ 241040 w 512808"/>
                <a:gd name="connsiteY23" fmla="*/ 1232159 h 1291595"/>
                <a:gd name="connsiteX24" fmla="*/ 181604 w 512808"/>
                <a:gd name="connsiteY24" fmla="*/ 1291595 h 1291595"/>
                <a:gd name="connsiteX25" fmla="*/ 122168 w 512808"/>
                <a:gd name="connsiteY25" fmla="*/ 1232159 h 1291595"/>
                <a:gd name="connsiteX26" fmla="*/ 122168 w 512808"/>
                <a:gd name="connsiteY26" fmla="*/ 768598 h 1291595"/>
                <a:gd name="connsiteX27" fmla="*/ 122168 w 512808"/>
                <a:gd name="connsiteY27" fmla="*/ 630951 h 1291595"/>
                <a:gd name="connsiteX28" fmla="*/ 122168 w 512808"/>
                <a:gd name="connsiteY28" fmla="*/ 405460 h 1291595"/>
                <a:gd name="connsiteX29" fmla="*/ 119736 w 512808"/>
                <a:gd name="connsiteY29" fmla="*/ 399589 h 1291595"/>
                <a:gd name="connsiteX30" fmla="*/ 106804 w 512808"/>
                <a:gd name="connsiteY30" fmla="*/ 394232 h 1291595"/>
                <a:gd name="connsiteX31" fmla="*/ 88516 w 512808"/>
                <a:gd name="connsiteY31" fmla="*/ 412520 h 1291595"/>
                <a:gd name="connsiteX32" fmla="*/ 88516 w 512808"/>
                <a:gd name="connsiteY32" fmla="*/ 735984 h 1291595"/>
                <a:gd name="connsiteX33" fmla="*/ 88703 w 512808"/>
                <a:gd name="connsiteY33" fmla="*/ 736435 h 1291595"/>
                <a:gd name="connsiteX34" fmla="*/ 87847 w 512808"/>
                <a:gd name="connsiteY34" fmla="*/ 740674 h 1291595"/>
                <a:gd name="connsiteX35" fmla="*/ 45720 w 512808"/>
                <a:gd name="connsiteY35" fmla="*/ 768598 h 1291595"/>
                <a:gd name="connsiteX36" fmla="*/ 0 w 512808"/>
                <a:gd name="connsiteY36" fmla="*/ 722878 h 1291595"/>
                <a:gd name="connsiteX37" fmla="*/ 0 w 512808"/>
                <a:gd name="connsiteY37" fmla="*/ 350381 h 1291595"/>
                <a:gd name="connsiteX38" fmla="*/ 85839 w 512808"/>
                <a:gd name="connsiteY38" fmla="*/ 264542 h 1291595"/>
                <a:gd name="connsiteX39" fmla="*/ 251550 w 512808"/>
                <a:gd name="connsiteY39" fmla="*/ 0 h 1291595"/>
                <a:gd name="connsiteX40" fmla="*/ 374038 w 512808"/>
                <a:gd name="connsiteY40" fmla="*/ 122488 h 1291595"/>
                <a:gd name="connsiteX41" fmla="*/ 251550 w 512808"/>
                <a:gd name="connsiteY41" fmla="*/ 244976 h 1291595"/>
                <a:gd name="connsiteX42" fmla="*/ 129062 w 512808"/>
                <a:gd name="connsiteY42" fmla="*/ 122488 h 1291595"/>
                <a:gd name="connsiteX43" fmla="*/ 251550 w 512808"/>
                <a:gd name="connsiteY43" fmla="*/ 0 h 1291595"/>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630951 h 1291595"/>
                <a:gd name="connsiteX17" fmla="*/ 390640 w 512808"/>
                <a:gd name="connsiteY17" fmla="*/ 768598 h 1291595"/>
                <a:gd name="connsiteX18" fmla="*/ 390640 w 512808"/>
                <a:gd name="connsiteY18" fmla="*/ 1232159 h 1291595"/>
                <a:gd name="connsiteX19" fmla="*/ 331204 w 512808"/>
                <a:gd name="connsiteY19" fmla="*/ 1291595 h 1291595"/>
                <a:gd name="connsiteX20" fmla="*/ 271768 w 512808"/>
                <a:gd name="connsiteY20" fmla="*/ 1232159 h 1291595"/>
                <a:gd name="connsiteX21" fmla="*/ 271768 w 512808"/>
                <a:gd name="connsiteY21" fmla="*/ 768598 h 1291595"/>
                <a:gd name="connsiteX22" fmla="*/ 241040 w 512808"/>
                <a:gd name="connsiteY22" fmla="*/ 768598 h 1291595"/>
                <a:gd name="connsiteX23" fmla="*/ 241040 w 512808"/>
                <a:gd name="connsiteY23" fmla="*/ 1232159 h 1291595"/>
                <a:gd name="connsiteX24" fmla="*/ 181604 w 512808"/>
                <a:gd name="connsiteY24" fmla="*/ 1291595 h 1291595"/>
                <a:gd name="connsiteX25" fmla="*/ 122168 w 512808"/>
                <a:gd name="connsiteY25" fmla="*/ 1232159 h 1291595"/>
                <a:gd name="connsiteX26" fmla="*/ 122168 w 512808"/>
                <a:gd name="connsiteY26" fmla="*/ 768598 h 1291595"/>
                <a:gd name="connsiteX27" fmla="*/ 122168 w 512808"/>
                <a:gd name="connsiteY27" fmla="*/ 630951 h 1291595"/>
                <a:gd name="connsiteX28" fmla="*/ 122168 w 512808"/>
                <a:gd name="connsiteY28" fmla="*/ 405460 h 1291595"/>
                <a:gd name="connsiteX29" fmla="*/ 119736 w 512808"/>
                <a:gd name="connsiteY29" fmla="*/ 399589 h 1291595"/>
                <a:gd name="connsiteX30" fmla="*/ 106804 w 512808"/>
                <a:gd name="connsiteY30" fmla="*/ 394232 h 1291595"/>
                <a:gd name="connsiteX31" fmla="*/ 88516 w 512808"/>
                <a:gd name="connsiteY31" fmla="*/ 412520 h 1291595"/>
                <a:gd name="connsiteX32" fmla="*/ 88516 w 512808"/>
                <a:gd name="connsiteY32" fmla="*/ 735984 h 1291595"/>
                <a:gd name="connsiteX33" fmla="*/ 88703 w 512808"/>
                <a:gd name="connsiteY33" fmla="*/ 736435 h 1291595"/>
                <a:gd name="connsiteX34" fmla="*/ 87847 w 512808"/>
                <a:gd name="connsiteY34" fmla="*/ 740674 h 1291595"/>
                <a:gd name="connsiteX35" fmla="*/ 45720 w 512808"/>
                <a:gd name="connsiteY35" fmla="*/ 768598 h 1291595"/>
                <a:gd name="connsiteX36" fmla="*/ 0 w 512808"/>
                <a:gd name="connsiteY36" fmla="*/ 722878 h 1291595"/>
                <a:gd name="connsiteX37" fmla="*/ 0 w 512808"/>
                <a:gd name="connsiteY37" fmla="*/ 350381 h 1291595"/>
                <a:gd name="connsiteX38" fmla="*/ 85839 w 512808"/>
                <a:gd name="connsiteY38" fmla="*/ 264542 h 1291595"/>
                <a:gd name="connsiteX39" fmla="*/ 251550 w 512808"/>
                <a:gd name="connsiteY39" fmla="*/ 0 h 1291595"/>
                <a:gd name="connsiteX40" fmla="*/ 374038 w 512808"/>
                <a:gd name="connsiteY40" fmla="*/ 122488 h 1291595"/>
                <a:gd name="connsiteX41" fmla="*/ 251550 w 512808"/>
                <a:gd name="connsiteY41" fmla="*/ 244976 h 1291595"/>
                <a:gd name="connsiteX42" fmla="*/ 129062 w 512808"/>
                <a:gd name="connsiteY42" fmla="*/ 122488 h 1291595"/>
                <a:gd name="connsiteX43" fmla="*/ 251550 w 512808"/>
                <a:gd name="connsiteY43" fmla="*/ 0 h 1291595"/>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630951 h 1291595"/>
                <a:gd name="connsiteX17" fmla="*/ 390640 w 512808"/>
                <a:gd name="connsiteY17" fmla="*/ 768598 h 1291595"/>
                <a:gd name="connsiteX18" fmla="*/ 390640 w 512808"/>
                <a:gd name="connsiteY18" fmla="*/ 1232159 h 1291595"/>
                <a:gd name="connsiteX19" fmla="*/ 331204 w 512808"/>
                <a:gd name="connsiteY19" fmla="*/ 1291595 h 1291595"/>
                <a:gd name="connsiteX20" fmla="*/ 271768 w 512808"/>
                <a:gd name="connsiteY20" fmla="*/ 1232159 h 1291595"/>
                <a:gd name="connsiteX21" fmla="*/ 271768 w 512808"/>
                <a:gd name="connsiteY21" fmla="*/ 768598 h 1291595"/>
                <a:gd name="connsiteX22" fmla="*/ 241040 w 512808"/>
                <a:gd name="connsiteY22" fmla="*/ 768598 h 1291595"/>
                <a:gd name="connsiteX23" fmla="*/ 241040 w 512808"/>
                <a:gd name="connsiteY23" fmla="*/ 1232159 h 1291595"/>
                <a:gd name="connsiteX24" fmla="*/ 181604 w 512808"/>
                <a:gd name="connsiteY24" fmla="*/ 1291595 h 1291595"/>
                <a:gd name="connsiteX25" fmla="*/ 122168 w 512808"/>
                <a:gd name="connsiteY25" fmla="*/ 1232159 h 1291595"/>
                <a:gd name="connsiteX26" fmla="*/ 122168 w 512808"/>
                <a:gd name="connsiteY26" fmla="*/ 630951 h 1291595"/>
                <a:gd name="connsiteX27" fmla="*/ 122168 w 512808"/>
                <a:gd name="connsiteY27" fmla="*/ 405460 h 1291595"/>
                <a:gd name="connsiteX28" fmla="*/ 119736 w 512808"/>
                <a:gd name="connsiteY28" fmla="*/ 399589 h 1291595"/>
                <a:gd name="connsiteX29" fmla="*/ 106804 w 512808"/>
                <a:gd name="connsiteY29" fmla="*/ 394232 h 1291595"/>
                <a:gd name="connsiteX30" fmla="*/ 88516 w 512808"/>
                <a:gd name="connsiteY30" fmla="*/ 412520 h 1291595"/>
                <a:gd name="connsiteX31" fmla="*/ 88516 w 512808"/>
                <a:gd name="connsiteY31" fmla="*/ 735984 h 1291595"/>
                <a:gd name="connsiteX32" fmla="*/ 88703 w 512808"/>
                <a:gd name="connsiteY32" fmla="*/ 736435 h 1291595"/>
                <a:gd name="connsiteX33" fmla="*/ 87847 w 512808"/>
                <a:gd name="connsiteY33" fmla="*/ 740674 h 1291595"/>
                <a:gd name="connsiteX34" fmla="*/ 45720 w 512808"/>
                <a:gd name="connsiteY34" fmla="*/ 768598 h 1291595"/>
                <a:gd name="connsiteX35" fmla="*/ 0 w 512808"/>
                <a:gd name="connsiteY35" fmla="*/ 722878 h 1291595"/>
                <a:gd name="connsiteX36" fmla="*/ 0 w 512808"/>
                <a:gd name="connsiteY36" fmla="*/ 350381 h 1291595"/>
                <a:gd name="connsiteX37" fmla="*/ 85839 w 512808"/>
                <a:gd name="connsiteY37" fmla="*/ 264542 h 1291595"/>
                <a:gd name="connsiteX38" fmla="*/ 251550 w 512808"/>
                <a:gd name="connsiteY38" fmla="*/ 0 h 1291595"/>
                <a:gd name="connsiteX39" fmla="*/ 374038 w 512808"/>
                <a:gd name="connsiteY39" fmla="*/ 122488 h 1291595"/>
                <a:gd name="connsiteX40" fmla="*/ 251550 w 512808"/>
                <a:gd name="connsiteY40" fmla="*/ 244976 h 1291595"/>
                <a:gd name="connsiteX41" fmla="*/ 129062 w 512808"/>
                <a:gd name="connsiteY41" fmla="*/ 122488 h 1291595"/>
                <a:gd name="connsiteX42" fmla="*/ 251550 w 512808"/>
                <a:gd name="connsiteY42" fmla="*/ 0 h 1291595"/>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630951 h 1291595"/>
                <a:gd name="connsiteX17" fmla="*/ 390640 w 512808"/>
                <a:gd name="connsiteY17" fmla="*/ 768598 h 1291595"/>
                <a:gd name="connsiteX18" fmla="*/ 390640 w 512808"/>
                <a:gd name="connsiteY18" fmla="*/ 1232159 h 1291595"/>
                <a:gd name="connsiteX19" fmla="*/ 331204 w 512808"/>
                <a:gd name="connsiteY19" fmla="*/ 1291595 h 1291595"/>
                <a:gd name="connsiteX20" fmla="*/ 271768 w 512808"/>
                <a:gd name="connsiteY20" fmla="*/ 1232159 h 1291595"/>
                <a:gd name="connsiteX21" fmla="*/ 271768 w 512808"/>
                <a:gd name="connsiteY21" fmla="*/ 768598 h 1291595"/>
                <a:gd name="connsiteX22" fmla="*/ 241040 w 512808"/>
                <a:gd name="connsiteY22" fmla="*/ 768598 h 1291595"/>
                <a:gd name="connsiteX23" fmla="*/ 241040 w 512808"/>
                <a:gd name="connsiteY23" fmla="*/ 1232159 h 1291595"/>
                <a:gd name="connsiteX24" fmla="*/ 181604 w 512808"/>
                <a:gd name="connsiteY24" fmla="*/ 1291595 h 1291595"/>
                <a:gd name="connsiteX25" fmla="*/ 122168 w 512808"/>
                <a:gd name="connsiteY25" fmla="*/ 1232159 h 1291595"/>
                <a:gd name="connsiteX26" fmla="*/ 122168 w 512808"/>
                <a:gd name="connsiteY26" fmla="*/ 405460 h 1291595"/>
                <a:gd name="connsiteX27" fmla="*/ 119736 w 512808"/>
                <a:gd name="connsiteY27" fmla="*/ 399589 h 1291595"/>
                <a:gd name="connsiteX28" fmla="*/ 106804 w 512808"/>
                <a:gd name="connsiteY28" fmla="*/ 394232 h 1291595"/>
                <a:gd name="connsiteX29" fmla="*/ 88516 w 512808"/>
                <a:gd name="connsiteY29" fmla="*/ 412520 h 1291595"/>
                <a:gd name="connsiteX30" fmla="*/ 88516 w 512808"/>
                <a:gd name="connsiteY30" fmla="*/ 735984 h 1291595"/>
                <a:gd name="connsiteX31" fmla="*/ 88703 w 512808"/>
                <a:gd name="connsiteY31" fmla="*/ 736435 h 1291595"/>
                <a:gd name="connsiteX32" fmla="*/ 87847 w 512808"/>
                <a:gd name="connsiteY32" fmla="*/ 740674 h 1291595"/>
                <a:gd name="connsiteX33" fmla="*/ 45720 w 512808"/>
                <a:gd name="connsiteY33" fmla="*/ 768598 h 1291595"/>
                <a:gd name="connsiteX34" fmla="*/ 0 w 512808"/>
                <a:gd name="connsiteY34" fmla="*/ 722878 h 1291595"/>
                <a:gd name="connsiteX35" fmla="*/ 0 w 512808"/>
                <a:gd name="connsiteY35" fmla="*/ 350381 h 1291595"/>
                <a:gd name="connsiteX36" fmla="*/ 85839 w 512808"/>
                <a:gd name="connsiteY36" fmla="*/ 264542 h 1291595"/>
                <a:gd name="connsiteX37" fmla="*/ 251550 w 512808"/>
                <a:gd name="connsiteY37" fmla="*/ 0 h 1291595"/>
                <a:gd name="connsiteX38" fmla="*/ 374038 w 512808"/>
                <a:gd name="connsiteY38" fmla="*/ 122488 h 1291595"/>
                <a:gd name="connsiteX39" fmla="*/ 251550 w 512808"/>
                <a:gd name="connsiteY39" fmla="*/ 244976 h 1291595"/>
                <a:gd name="connsiteX40" fmla="*/ 129062 w 512808"/>
                <a:gd name="connsiteY40" fmla="*/ 122488 h 1291595"/>
                <a:gd name="connsiteX41" fmla="*/ 251550 w 512808"/>
                <a:gd name="connsiteY41" fmla="*/ 0 h 1291595"/>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630951 h 1291595"/>
                <a:gd name="connsiteX17" fmla="*/ 390640 w 512808"/>
                <a:gd name="connsiteY17" fmla="*/ 1232159 h 1291595"/>
                <a:gd name="connsiteX18" fmla="*/ 331204 w 512808"/>
                <a:gd name="connsiteY18" fmla="*/ 1291595 h 1291595"/>
                <a:gd name="connsiteX19" fmla="*/ 271768 w 512808"/>
                <a:gd name="connsiteY19" fmla="*/ 1232159 h 1291595"/>
                <a:gd name="connsiteX20" fmla="*/ 271768 w 512808"/>
                <a:gd name="connsiteY20" fmla="*/ 768598 h 1291595"/>
                <a:gd name="connsiteX21" fmla="*/ 241040 w 512808"/>
                <a:gd name="connsiteY21" fmla="*/ 768598 h 1291595"/>
                <a:gd name="connsiteX22" fmla="*/ 241040 w 512808"/>
                <a:gd name="connsiteY22" fmla="*/ 1232159 h 1291595"/>
                <a:gd name="connsiteX23" fmla="*/ 181604 w 512808"/>
                <a:gd name="connsiteY23" fmla="*/ 1291595 h 1291595"/>
                <a:gd name="connsiteX24" fmla="*/ 122168 w 512808"/>
                <a:gd name="connsiteY24" fmla="*/ 1232159 h 1291595"/>
                <a:gd name="connsiteX25" fmla="*/ 122168 w 512808"/>
                <a:gd name="connsiteY25" fmla="*/ 405460 h 1291595"/>
                <a:gd name="connsiteX26" fmla="*/ 119736 w 512808"/>
                <a:gd name="connsiteY26" fmla="*/ 399589 h 1291595"/>
                <a:gd name="connsiteX27" fmla="*/ 106804 w 512808"/>
                <a:gd name="connsiteY27" fmla="*/ 394232 h 1291595"/>
                <a:gd name="connsiteX28" fmla="*/ 88516 w 512808"/>
                <a:gd name="connsiteY28" fmla="*/ 412520 h 1291595"/>
                <a:gd name="connsiteX29" fmla="*/ 88516 w 512808"/>
                <a:gd name="connsiteY29" fmla="*/ 735984 h 1291595"/>
                <a:gd name="connsiteX30" fmla="*/ 88703 w 512808"/>
                <a:gd name="connsiteY30" fmla="*/ 736435 h 1291595"/>
                <a:gd name="connsiteX31" fmla="*/ 87847 w 512808"/>
                <a:gd name="connsiteY31" fmla="*/ 740674 h 1291595"/>
                <a:gd name="connsiteX32" fmla="*/ 45720 w 512808"/>
                <a:gd name="connsiteY32" fmla="*/ 768598 h 1291595"/>
                <a:gd name="connsiteX33" fmla="*/ 0 w 512808"/>
                <a:gd name="connsiteY33" fmla="*/ 722878 h 1291595"/>
                <a:gd name="connsiteX34" fmla="*/ 0 w 512808"/>
                <a:gd name="connsiteY34" fmla="*/ 350381 h 1291595"/>
                <a:gd name="connsiteX35" fmla="*/ 85839 w 512808"/>
                <a:gd name="connsiteY35" fmla="*/ 264542 h 1291595"/>
                <a:gd name="connsiteX36" fmla="*/ 251550 w 512808"/>
                <a:gd name="connsiteY36" fmla="*/ 0 h 1291595"/>
                <a:gd name="connsiteX37" fmla="*/ 374038 w 512808"/>
                <a:gd name="connsiteY37" fmla="*/ 122488 h 1291595"/>
                <a:gd name="connsiteX38" fmla="*/ 251550 w 512808"/>
                <a:gd name="connsiteY38" fmla="*/ 244976 h 1291595"/>
                <a:gd name="connsiteX39" fmla="*/ 129062 w 512808"/>
                <a:gd name="connsiteY39" fmla="*/ 122488 h 1291595"/>
                <a:gd name="connsiteX40" fmla="*/ 251550 w 512808"/>
                <a:gd name="connsiteY40" fmla="*/ 0 h 1291595"/>
                <a:gd name="connsiteX0" fmla="*/ 85839 w 512808"/>
                <a:gd name="connsiteY0" fmla="*/ 264542 h 1291595"/>
                <a:gd name="connsiteX1" fmla="*/ 91440 w 512808"/>
                <a:gd name="connsiteY1" fmla="*/ 264542 h 1291595"/>
                <a:gd name="connsiteX2" fmla="*/ 122168 w 512808"/>
                <a:gd name="connsiteY2" fmla="*/ 264542 h 1291595"/>
                <a:gd name="connsiteX3" fmla="*/ 390640 w 512808"/>
                <a:gd name="connsiteY3" fmla="*/ 264542 h 1291595"/>
                <a:gd name="connsiteX4" fmla="*/ 421368 w 512808"/>
                <a:gd name="connsiteY4" fmla="*/ 264542 h 1291595"/>
                <a:gd name="connsiteX5" fmla="*/ 426969 w 512808"/>
                <a:gd name="connsiteY5" fmla="*/ 264542 h 1291595"/>
                <a:gd name="connsiteX6" fmla="*/ 512808 w 512808"/>
                <a:gd name="connsiteY6" fmla="*/ 350381 h 1291595"/>
                <a:gd name="connsiteX7" fmla="*/ 512808 w 512808"/>
                <a:gd name="connsiteY7" fmla="*/ 722878 h 1291595"/>
                <a:gd name="connsiteX8" fmla="*/ 467088 w 512808"/>
                <a:gd name="connsiteY8" fmla="*/ 768598 h 1291595"/>
                <a:gd name="connsiteX9" fmla="*/ 424961 w 512808"/>
                <a:gd name="connsiteY9" fmla="*/ 740674 h 1291595"/>
                <a:gd name="connsiteX10" fmla="*/ 424105 w 512808"/>
                <a:gd name="connsiteY10" fmla="*/ 736435 h 1291595"/>
                <a:gd name="connsiteX11" fmla="*/ 424292 w 512808"/>
                <a:gd name="connsiteY11" fmla="*/ 735984 h 1291595"/>
                <a:gd name="connsiteX12" fmla="*/ 424292 w 512808"/>
                <a:gd name="connsiteY12" fmla="*/ 412520 h 1291595"/>
                <a:gd name="connsiteX13" fmla="*/ 406004 w 512808"/>
                <a:gd name="connsiteY13" fmla="*/ 394232 h 1291595"/>
                <a:gd name="connsiteX14" fmla="*/ 393073 w 512808"/>
                <a:gd name="connsiteY14" fmla="*/ 399589 h 1291595"/>
                <a:gd name="connsiteX15" fmla="*/ 390640 w 512808"/>
                <a:gd name="connsiteY15" fmla="*/ 405461 h 1291595"/>
                <a:gd name="connsiteX16" fmla="*/ 390640 w 512808"/>
                <a:gd name="connsiteY16" fmla="*/ 1232159 h 1291595"/>
                <a:gd name="connsiteX17" fmla="*/ 331204 w 512808"/>
                <a:gd name="connsiteY17" fmla="*/ 1291595 h 1291595"/>
                <a:gd name="connsiteX18" fmla="*/ 271768 w 512808"/>
                <a:gd name="connsiteY18" fmla="*/ 1232159 h 1291595"/>
                <a:gd name="connsiteX19" fmla="*/ 271768 w 512808"/>
                <a:gd name="connsiteY19" fmla="*/ 768598 h 1291595"/>
                <a:gd name="connsiteX20" fmla="*/ 241040 w 512808"/>
                <a:gd name="connsiteY20" fmla="*/ 768598 h 1291595"/>
                <a:gd name="connsiteX21" fmla="*/ 241040 w 512808"/>
                <a:gd name="connsiteY21" fmla="*/ 1232159 h 1291595"/>
                <a:gd name="connsiteX22" fmla="*/ 181604 w 512808"/>
                <a:gd name="connsiteY22" fmla="*/ 1291595 h 1291595"/>
                <a:gd name="connsiteX23" fmla="*/ 122168 w 512808"/>
                <a:gd name="connsiteY23" fmla="*/ 1232159 h 1291595"/>
                <a:gd name="connsiteX24" fmla="*/ 122168 w 512808"/>
                <a:gd name="connsiteY24" fmla="*/ 405460 h 1291595"/>
                <a:gd name="connsiteX25" fmla="*/ 119736 w 512808"/>
                <a:gd name="connsiteY25" fmla="*/ 399589 h 1291595"/>
                <a:gd name="connsiteX26" fmla="*/ 106804 w 512808"/>
                <a:gd name="connsiteY26" fmla="*/ 394232 h 1291595"/>
                <a:gd name="connsiteX27" fmla="*/ 88516 w 512808"/>
                <a:gd name="connsiteY27" fmla="*/ 412520 h 1291595"/>
                <a:gd name="connsiteX28" fmla="*/ 88516 w 512808"/>
                <a:gd name="connsiteY28" fmla="*/ 735984 h 1291595"/>
                <a:gd name="connsiteX29" fmla="*/ 88703 w 512808"/>
                <a:gd name="connsiteY29" fmla="*/ 736435 h 1291595"/>
                <a:gd name="connsiteX30" fmla="*/ 87847 w 512808"/>
                <a:gd name="connsiteY30" fmla="*/ 740674 h 1291595"/>
                <a:gd name="connsiteX31" fmla="*/ 45720 w 512808"/>
                <a:gd name="connsiteY31" fmla="*/ 768598 h 1291595"/>
                <a:gd name="connsiteX32" fmla="*/ 0 w 512808"/>
                <a:gd name="connsiteY32" fmla="*/ 722878 h 1291595"/>
                <a:gd name="connsiteX33" fmla="*/ 0 w 512808"/>
                <a:gd name="connsiteY33" fmla="*/ 350381 h 1291595"/>
                <a:gd name="connsiteX34" fmla="*/ 85839 w 512808"/>
                <a:gd name="connsiteY34" fmla="*/ 264542 h 1291595"/>
                <a:gd name="connsiteX35" fmla="*/ 251550 w 512808"/>
                <a:gd name="connsiteY35" fmla="*/ 0 h 1291595"/>
                <a:gd name="connsiteX36" fmla="*/ 374038 w 512808"/>
                <a:gd name="connsiteY36" fmla="*/ 122488 h 1291595"/>
                <a:gd name="connsiteX37" fmla="*/ 251550 w 512808"/>
                <a:gd name="connsiteY37" fmla="*/ 244976 h 1291595"/>
                <a:gd name="connsiteX38" fmla="*/ 129062 w 512808"/>
                <a:gd name="connsiteY38" fmla="*/ 122488 h 1291595"/>
                <a:gd name="connsiteX39" fmla="*/ 251550 w 512808"/>
                <a:gd name="connsiteY39" fmla="*/ 0 h 12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2808" h="1291595">
                  <a:moveTo>
                    <a:pt x="85839" y="264542"/>
                  </a:moveTo>
                  <a:lnTo>
                    <a:pt x="91440" y="264542"/>
                  </a:lnTo>
                  <a:lnTo>
                    <a:pt x="122168" y="264542"/>
                  </a:lnTo>
                  <a:lnTo>
                    <a:pt x="390640" y="264542"/>
                  </a:lnTo>
                  <a:lnTo>
                    <a:pt x="421368" y="264542"/>
                  </a:lnTo>
                  <a:lnTo>
                    <a:pt x="426969" y="264542"/>
                  </a:lnTo>
                  <a:cubicBezTo>
                    <a:pt x="474377" y="264542"/>
                    <a:pt x="512808" y="302973"/>
                    <a:pt x="512808" y="350381"/>
                  </a:cubicBezTo>
                  <a:lnTo>
                    <a:pt x="512808" y="722878"/>
                  </a:lnTo>
                  <a:cubicBezTo>
                    <a:pt x="512808" y="748128"/>
                    <a:pt x="492338" y="768598"/>
                    <a:pt x="467088" y="768598"/>
                  </a:cubicBezTo>
                  <a:cubicBezTo>
                    <a:pt x="448151" y="768598"/>
                    <a:pt x="431902" y="757084"/>
                    <a:pt x="424961" y="740674"/>
                  </a:cubicBezTo>
                  <a:lnTo>
                    <a:pt x="424105" y="736435"/>
                  </a:lnTo>
                  <a:lnTo>
                    <a:pt x="424292" y="735984"/>
                  </a:lnTo>
                  <a:lnTo>
                    <a:pt x="424292" y="412520"/>
                  </a:lnTo>
                  <a:cubicBezTo>
                    <a:pt x="424292" y="402420"/>
                    <a:pt x="416104" y="394232"/>
                    <a:pt x="406004" y="394232"/>
                  </a:cubicBezTo>
                  <a:cubicBezTo>
                    <a:pt x="400954" y="394232"/>
                    <a:pt x="396382" y="396279"/>
                    <a:pt x="393073" y="399589"/>
                  </a:cubicBezTo>
                  <a:lnTo>
                    <a:pt x="390640" y="405461"/>
                  </a:lnTo>
                  <a:lnTo>
                    <a:pt x="390640" y="1232159"/>
                  </a:lnTo>
                  <a:cubicBezTo>
                    <a:pt x="390640" y="1264985"/>
                    <a:pt x="364030" y="1291595"/>
                    <a:pt x="331204" y="1291595"/>
                  </a:cubicBezTo>
                  <a:cubicBezTo>
                    <a:pt x="298378" y="1291595"/>
                    <a:pt x="271768" y="1264985"/>
                    <a:pt x="271768" y="1232159"/>
                  </a:cubicBezTo>
                  <a:lnTo>
                    <a:pt x="271768" y="768598"/>
                  </a:lnTo>
                  <a:lnTo>
                    <a:pt x="241040" y="768598"/>
                  </a:lnTo>
                  <a:lnTo>
                    <a:pt x="241040" y="1232159"/>
                  </a:lnTo>
                  <a:cubicBezTo>
                    <a:pt x="241040" y="1264985"/>
                    <a:pt x="214430" y="1291595"/>
                    <a:pt x="181604" y="1291595"/>
                  </a:cubicBezTo>
                  <a:cubicBezTo>
                    <a:pt x="148778" y="1291595"/>
                    <a:pt x="122168" y="1264985"/>
                    <a:pt x="122168" y="1232159"/>
                  </a:cubicBezTo>
                  <a:lnTo>
                    <a:pt x="122168" y="405460"/>
                  </a:lnTo>
                  <a:lnTo>
                    <a:pt x="119736" y="399589"/>
                  </a:lnTo>
                  <a:cubicBezTo>
                    <a:pt x="116426" y="396279"/>
                    <a:pt x="111854" y="394232"/>
                    <a:pt x="106804" y="394232"/>
                  </a:cubicBezTo>
                  <a:cubicBezTo>
                    <a:pt x="96704" y="394232"/>
                    <a:pt x="88516" y="402420"/>
                    <a:pt x="88516" y="412520"/>
                  </a:cubicBezTo>
                  <a:lnTo>
                    <a:pt x="88516" y="735984"/>
                  </a:lnTo>
                  <a:lnTo>
                    <a:pt x="88703" y="736435"/>
                  </a:lnTo>
                  <a:lnTo>
                    <a:pt x="87847" y="740674"/>
                  </a:lnTo>
                  <a:cubicBezTo>
                    <a:pt x="80907" y="757084"/>
                    <a:pt x="64658" y="768598"/>
                    <a:pt x="45720" y="768598"/>
                  </a:cubicBezTo>
                  <a:cubicBezTo>
                    <a:pt x="20470" y="768598"/>
                    <a:pt x="0" y="748128"/>
                    <a:pt x="0" y="722878"/>
                  </a:cubicBezTo>
                  <a:lnTo>
                    <a:pt x="0" y="350381"/>
                  </a:lnTo>
                  <a:cubicBezTo>
                    <a:pt x="0" y="302973"/>
                    <a:pt x="38431" y="264542"/>
                    <a:pt x="85839" y="264542"/>
                  </a:cubicBezTo>
                  <a:close/>
                  <a:moveTo>
                    <a:pt x="251550" y="0"/>
                  </a:moveTo>
                  <a:cubicBezTo>
                    <a:pt x="319198" y="0"/>
                    <a:pt x="374038" y="54840"/>
                    <a:pt x="374038" y="122488"/>
                  </a:cubicBezTo>
                  <a:cubicBezTo>
                    <a:pt x="374038" y="190136"/>
                    <a:pt x="319198" y="244976"/>
                    <a:pt x="251550" y="244976"/>
                  </a:cubicBezTo>
                  <a:cubicBezTo>
                    <a:pt x="183902" y="244976"/>
                    <a:pt x="129062" y="190136"/>
                    <a:pt x="129062" y="122488"/>
                  </a:cubicBezTo>
                  <a:cubicBezTo>
                    <a:pt x="129062" y="54840"/>
                    <a:pt x="183902" y="0"/>
                    <a:pt x="251550"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a:p>
          </p:txBody>
        </p:sp>
        <p:cxnSp>
          <p:nvCxnSpPr>
            <p:cNvPr id="38" name="Straight Connector 37">
              <a:extLst>
                <a:ext uri="{FF2B5EF4-FFF2-40B4-BE49-F238E27FC236}">
                  <a16:creationId xmlns:a16="http://schemas.microsoft.com/office/drawing/2014/main" id="{FBD380E8-5099-8596-2240-07FC5478ABCA}"/>
                </a:ext>
              </a:extLst>
            </p:cNvPr>
            <p:cNvCxnSpPr/>
            <p:nvPr/>
          </p:nvCxnSpPr>
          <p:spPr>
            <a:xfrm>
              <a:off x="3384977" y="2270263"/>
              <a:ext cx="5843" cy="313504"/>
            </a:xfrm>
            <a:prstGeom prst="line">
              <a:avLst/>
            </a:prstGeom>
            <a:ln>
              <a:solidFill>
                <a:schemeClr val="accent3">
                  <a:lumMod val="60000"/>
                  <a:lumOff val="4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B00E555-9C33-3FB7-925D-E648F5E7879E}"/>
                </a:ext>
              </a:extLst>
            </p:cNvPr>
            <p:cNvCxnSpPr/>
            <p:nvPr/>
          </p:nvCxnSpPr>
          <p:spPr>
            <a:xfrm>
              <a:off x="3398253" y="2898708"/>
              <a:ext cx="5843" cy="313504"/>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1A497ECB-743B-6261-308D-EE975786262E}"/>
              </a:ext>
            </a:extLst>
          </p:cNvPr>
          <p:cNvSpPr txBox="1"/>
          <p:nvPr/>
        </p:nvSpPr>
        <p:spPr>
          <a:xfrm>
            <a:off x="3020770" y="857161"/>
            <a:ext cx="1835681" cy="307777"/>
          </a:xfrm>
          <a:prstGeom prst="rect">
            <a:avLst/>
          </a:prstGeom>
          <a:noFill/>
        </p:spPr>
        <p:txBody>
          <a:bodyPr wrap="square" rtlCol="0">
            <a:spAutoFit/>
          </a:bodyPr>
          <a:lstStyle/>
          <a:p>
            <a:pPr algn="ctr"/>
            <a:r>
              <a:rPr lang="bg-BG" sz="1400" b="1" u="sng" dirty="0">
                <a:solidFill>
                  <a:schemeClr val="accent2"/>
                </a:solidFill>
              </a:rPr>
              <a:t>Широка общественост</a:t>
            </a:r>
          </a:p>
        </p:txBody>
      </p:sp>
      <p:cxnSp>
        <p:nvCxnSpPr>
          <p:cNvPr id="42" name="Straight Connector 41">
            <a:extLst>
              <a:ext uri="{FF2B5EF4-FFF2-40B4-BE49-F238E27FC236}">
                <a16:creationId xmlns:a16="http://schemas.microsoft.com/office/drawing/2014/main" id="{00E199F6-045A-9C70-0E3C-4A6686ECC4CE}"/>
              </a:ext>
            </a:extLst>
          </p:cNvPr>
          <p:cNvCxnSpPr/>
          <p:nvPr/>
        </p:nvCxnSpPr>
        <p:spPr>
          <a:xfrm>
            <a:off x="6629400" y="884408"/>
            <a:ext cx="0" cy="529731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43" name="Диаграма 19">
            <a:extLst>
              <a:ext uri="{FF2B5EF4-FFF2-40B4-BE49-F238E27FC236}">
                <a16:creationId xmlns:a16="http://schemas.microsoft.com/office/drawing/2014/main" id="{27C9B9C9-05E2-BFFB-4757-5E9A14C6E779}"/>
              </a:ext>
            </a:extLst>
          </p:cNvPr>
          <p:cNvGraphicFramePr/>
          <p:nvPr/>
        </p:nvGraphicFramePr>
        <p:xfrm>
          <a:off x="6569214" y="1424055"/>
          <a:ext cx="2727186" cy="1491951"/>
        </p:xfrm>
        <a:graphic>
          <a:graphicData uri="http://schemas.openxmlformats.org/drawingml/2006/chart">
            <c:chart xmlns:c="http://schemas.openxmlformats.org/drawingml/2006/chart" xmlns:r="http://schemas.openxmlformats.org/officeDocument/2006/relationships" r:id="rId5"/>
          </a:graphicData>
        </a:graphic>
      </p:graphicFrame>
      <p:sp>
        <p:nvSpPr>
          <p:cNvPr id="44" name="Текстово поле 35">
            <a:extLst>
              <a:ext uri="{FF2B5EF4-FFF2-40B4-BE49-F238E27FC236}">
                <a16:creationId xmlns:a16="http://schemas.microsoft.com/office/drawing/2014/main" id="{AD491579-7398-C9DE-BFC7-641E84D1FB8C}"/>
              </a:ext>
            </a:extLst>
          </p:cNvPr>
          <p:cNvSpPr txBox="1"/>
          <p:nvPr/>
        </p:nvSpPr>
        <p:spPr>
          <a:xfrm>
            <a:off x="7153171" y="1256595"/>
            <a:ext cx="1856002" cy="292388"/>
          </a:xfrm>
          <a:prstGeom prst="rect">
            <a:avLst/>
          </a:prstGeom>
          <a:noFill/>
        </p:spPr>
        <p:txBody>
          <a:bodyPr wrap="square" rtlCol="0">
            <a:spAutoFit/>
          </a:bodyPr>
          <a:lstStyle/>
          <a:p>
            <a:pPr algn="ctr"/>
            <a:r>
              <a:rPr lang="bg-BG" sz="1300" dirty="0"/>
              <a:t>Тип собственост</a:t>
            </a:r>
          </a:p>
        </p:txBody>
      </p:sp>
      <p:sp>
        <p:nvSpPr>
          <p:cNvPr id="45" name="TextBox 44">
            <a:extLst>
              <a:ext uri="{FF2B5EF4-FFF2-40B4-BE49-F238E27FC236}">
                <a16:creationId xmlns:a16="http://schemas.microsoft.com/office/drawing/2014/main" id="{BC3A0742-3619-1F29-B9C6-CED24A07B8A0}"/>
              </a:ext>
            </a:extLst>
          </p:cNvPr>
          <p:cNvSpPr txBox="1"/>
          <p:nvPr/>
        </p:nvSpPr>
        <p:spPr>
          <a:xfrm>
            <a:off x="8253389" y="857161"/>
            <a:ext cx="1835681" cy="307777"/>
          </a:xfrm>
          <a:prstGeom prst="rect">
            <a:avLst/>
          </a:prstGeom>
          <a:noFill/>
        </p:spPr>
        <p:txBody>
          <a:bodyPr wrap="square" rtlCol="0">
            <a:spAutoFit/>
          </a:bodyPr>
          <a:lstStyle/>
          <a:p>
            <a:pPr algn="ctr"/>
            <a:r>
              <a:rPr lang="bg-BG" sz="1400" b="1" u="sng" dirty="0">
                <a:solidFill>
                  <a:schemeClr val="accent2"/>
                </a:solidFill>
              </a:rPr>
              <a:t>Бизнес</a:t>
            </a:r>
          </a:p>
        </p:txBody>
      </p:sp>
      <p:sp>
        <p:nvSpPr>
          <p:cNvPr id="46" name="Rectangle 252">
            <a:extLst>
              <a:ext uri="{FF2B5EF4-FFF2-40B4-BE49-F238E27FC236}">
                <a16:creationId xmlns:a16="http://schemas.microsoft.com/office/drawing/2014/main" id="{0E28317E-F28A-D9A6-8238-02A83D490BE9}"/>
              </a:ext>
            </a:extLst>
          </p:cNvPr>
          <p:cNvSpPr/>
          <p:nvPr/>
        </p:nvSpPr>
        <p:spPr>
          <a:xfrm>
            <a:off x="7816375" y="4280053"/>
            <a:ext cx="3154206" cy="160226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7" name="Group 251">
            <a:extLst>
              <a:ext uri="{FF2B5EF4-FFF2-40B4-BE49-F238E27FC236}">
                <a16:creationId xmlns:a16="http://schemas.microsoft.com/office/drawing/2014/main" id="{7D1D18B8-3262-A764-8374-9AA35F87BA47}"/>
              </a:ext>
            </a:extLst>
          </p:cNvPr>
          <p:cNvGrpSpPr/>
          <p:nvPr/>
        </p:nvGrpSpPr>
        <p:grpSpPr>
          <a:xfrm>
            <a:off x="9010660" y="4538569"/>
            <a:ext cx="642244" cy="760566"/>
            <a:chOff x="6540215" y="936312"/>
            <a:chExt cx="247976" cy="285688"/>
          </a:xfrm>
          <a:solidFill>
            <a:schemeClr val="accent2"/>
          </a:solidFill>
        </p:grpSpPr>
        <p:sp>
          <p:nvSpPr>
            <p:cNvPr id="48" name="Freeform 16">
              <a:extLst>
                <a:ext uri="{FF2B5EF4-FFF2-40B4-BE49-F238E27FC236}">
                  <a16:creationId xmlns:a16="http://schemas.microsoft.com/office/drawing/2014/main" id="{EA462C06-D25E-58A9-EEE3-ACFCA38118D2}"/>
                </a:ext>
              </a:extLst>
            </p:cNvPr>
            <p:cNvSpPr>
              <a:spLocks/>
            </p:cNvSpPr>
            <p:nvPr/>
          </p:nvSpPr>
          <p:spPr bwMode="auto">
            <a:xfrm>
              <a:off x="6540215" y="1107344"/>
              <a:ext cx="247976" cy="114656"/>
            </a:xfrm>
            <a:custGeom>
              <a:avLst/>
              <a:gdLst>
                <a:gd name="T0" fmla="*/ 272 w 651"/>
                <a:gd name="T1" fmla="*/ 194 h 301"/>
                <a:gd name="T2" fmla="*/ 308 w 651"/>
                <a:gd name="T3" fmla="*/ 141 h 301"/>
                <a:gd name="T4" fmla="*/ 287 w 651"/>
                <a:gd name="T5" fmla="*/ 105 h 301"/>
                <a:gd name="T6" fmla="*/ 281 w 651"/>
                <a:gd name="T7" fmla="*/ 78 h 301"/>
                <a:gd name="T8" fmla="*/ 288 w 651"/>
                <a:gd name="T9" fmla="*/ 63 h 301"/>
                <a:gd name="T10" fmla="*/ 301 w 651"/>
                <a:gd name="T11" fmla="*/ 54 h 301"/>
                <a:gd name="T12" fmla="*/ 315 w 651"/>
                <a:gd name="T13" fmla="*/ 50 h 301"/>
                <a:gd name="T14" fmla="*/ 325 w 651"/>
                <a:gd name="T15" fmla="*/ 50 h 301"/>
                <a:gd name="T16" fmla="*/ 330 w 651"/>
                <a:gd name="T17" fmla="*/ 50 h 301"/>
                <a:gd name="T18" fmla="*/ 342 w 651"/>
                <a:gd name="T19" fmla="*/ 51 h 301"/>
                <a:gd name="T20" fmla="*/ 356 w 651"/>
                <a:gd name="T21" fmla="*/ 58 h 301"/>
                <a:gd name="T22" fmla="*/ 366 w 651"/>
                <a:gd name="T23" fmla="*/ 69 h 301"/>
                <a:gd name="T24" fmla="*/ 368 w 651"/>
                <a:gd name="T25" fmla="*/ 90 h 301"/>
                <a:gd name="T26" fmla="*/ 355 w 651"/>
                <a:gd name="T27" fmla="*/ 122 h 301"/>
                <a:gd name="T28" fmla="*/ 369 w 651"/>
                <a:gd name="T29" fmla="*/ 220 h 301"/>
                <a:gd name="T30" fmla="*/ 440 w 651"/>
                <a:gd name="T31" fmla="*/ 0 h 301"/>
                <a:gd name="T32" fmla="*/ 450 w 651"/>
                <a:gd name="T33" fmla="*/ 6 h 301"/>
                <a:gd name="T34" fmla="*/ 483 w 651"/>
                <a:gd name="T35" fmla="*/ 25 h 301"/>
                <a:gd name="T36" fmla="*/ 534 w 651"/>
                <a:gd name="T37" fmla="*/ 48 h 301"/>
                <a:gd name="T38" fmla="*/ 593 w 651"/>
                <a:gd name="T39" fmla="*/ 73 h 301"/>
                <a:gd name="T40" fmla="*/ 627 w 651"/>
                <a:gd name="T41" fmla="*/ 107 h 301"/>
                <a:gd name="T42" fmla="*/ 644 w 651"/>
                <a:gd name="T43" fmla="*/ 156 h 301"/>
                <a:gd name="T44" fmla="*/ 649 w 651"/>
                <a:gd name="T45" fmla="*/ 220 h 301"/>
                <a:gd name="T46" fmla="*/ 651 w 651"/>
                <a:gd name="T47" fmla="*/ 301 h 301"/>
                <a:gd name="T48" fmla="*/ 0 w 651"/>
                <a:gd name="T49" fmla="*/ 258 h 301"/>
                <a:gd name="T50" fmla="*/ 3 w 651"/>
                <a:gd name="T51" fmla="*/ 186 h 301"/>
                <a:gd name="T52" fmla="*/ 13 w 651"/>
                <a:gd name="T53" fmla="*/ 130 h 301"/>
                <a:gd name="T54" fmla="*/ 38 w 651"/>
                <a:gd name="T55" fmla="*/ 89 h 301"/>
                <a:gd name="T56" fmla="*/ 84 w 651"/>
                <a:gd name="T57" fmla="*/ 61 h 301"/>
                <a:gd name="T58" fmla="*/ 144 w 651"/>
                <a:gd name="T59" fmla="*/ 35 h 301"/>
                <a:gd name="T60" fmla="*/ 186 w 651"/>
                <a:gd name="T61" fmla="*/ 14 h 301"/>
                <a:gd name="T62" fmla="*/ 208 w 651"/>
                <a:gd name="T63" fmla="*/ 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1" h="301">
                  <a:moveTo>
                    <a:pt x="211" y="0"/>
                  </a:moveTo>
                  <a:lnTo>
                    <a:pt x="272" y="194"/>
                  </a:lnTo>
                  <a:lnTo>
                    <a:pt x="280" y="220"/>
                  </a:lnTo>
                  <a:lnTo>
                    <a:pt x="308" y="141"/>
                  </a:lnTo>
                  <a:lnTo>
                    <a:pt x="294" y="122"/>
                  </a:lnTo>
                  <a:lnTo>
                    <a:pt x="287" y="105"/>
                  </a:lnTo>
                  <a:lnTo>
                    <a:pt x="283" y="90"/>
                  </a:lnTo>
                  <a:lnTo>
                    <a:pt x="281" y="78"/>
                  </a:lnTo>
                  <a:lnTo>
                    <a:pt x="284" y="69"/>
                  </a:lnTo>
                  <a:lnTo>
                    <a:pt x="288" y="63"/>
                  </a:lnTo>
                  <a:lnTo>
                    <a:pt x="294" y="58"/>
                  </a:lnTo>
                  <a:lnTo>
                    <a:pt x="301" y="54"/>
                  </a:lnTo>
                  <a:lnTo>
                    <a:pt x="308" y="51"/>
                  </a:lnTo>
                  <a:lnTo>
                    <a:pt x="315" y="50"/>
                  </a:lnTo>
                  <a:lnTo>
                    <a:pt x="321" y="50"/>
                  </a:lnTo>
                  <a:lnTo>
                    <a:pt x="325" y="50"/>
                  </a:lnTo>
                  <a:lnTo>
                    <a:pt x="326" y="50"/>
                  </a:lnTo>
                  <a:lnTo>
                    <a:pt x="330" y="50"/>
                  </a:lnTo>
                  <a:lnTo>
                    <a:pt x="335" y="50"/>
                  </a:lnTo>
                  <a:lnTo>
                    <a:pt x="342" y="51"/>
                  </a:lnTo>
                  <a:lnTo>
                    <a:pt x="349" y="54"/>
                  </a:lnTo>
                  <a:lnTo>
                    <a:pt x="356" y="58"/>
                  </a:lnTo>
                  <a:lnTo>
                    <a:pt x="361" y="63"/>
                  </a:lnTo>
                  <a:lnTo>
                    <a:pt x="366" y="69"/>
                  </a:lnTo>
                  <a:lnTo>
                    <a:pt x="369" y="78"/>
                  </a:lnTo>
                  <a:lnTo>
                    <a:pt x="368" y="90"/>
                  </a:lnTo>
                  <a:lnTo>
                    <a:pt x="364" y="105"/>
                  </a:lnTo>
                  <a:lnTo>
                    <a:pt x="355" y="122"/>
                  </a:lnTo>
                  <a:lnTo>
                    <a:pt x="342" y="141"/>
                  </a:lnTo>
                  <a:lnTo>
                    <a:pt x="369" y="220"/>
                  </a:lnTo>
                  <a:lnTo>
                    <a:pt x="378" y="194"/>
                  </a:lnTo>
                  <a:lnTo>
                    <a:pt x="440" y="0"/>
                  </a:lnTo>
                  <a:lnTo>
                    <a:pt x="442" y="1"/>
                  </a:lnTo>
                  <a:lnTo>
                    <a:pt x="450" y="6"/>
                  </a:lnTo>
                  <a:lnTo>
                    <a:pt x="465" y="14"/>
                  </a:lnTo>
                  <a:lnTo>
                    <a:pt x="483" y="25"/>
                  </a:lnTo>
                  <a:lnTo>
                    <a:pt x="507" y="35"/>
                  </a:lnTo>
                  <a:lnTo>
                    <a:pt x="534" y="48"/>
                  </a:lnTo>
                  <a:lnTo>
                    <a:pt x="567" y="61"/>
                  </a:lnTo>
                  <a:lnTo>
                    <a:pt x="593" y="73"/>
                  </a:lnTo>
                  <a:lnTo>
                    <a:pt x="613" y="89"/>
                  </a:lnTo>
                  <a:lnTo>
                    <a:pt x="627" y="107"/>
                  </a:lnTo>
                  <a:lnTo>
                    <a:pt x="638" y="130"/>
                  </a:lnTo>
                  <a:lnTo>
                    <a:pt x="644" y="156"/>
                  </a:lnTo>
                  <a:lnTo>
                    <a:pt x="648" y="186"/>
                  </a:lnTo>
                  <a:lnTo>
                    <a:pt x="649" y="220"/>
                  </a:lnTo>
                  <a:lnTo>
                    <a:pt x="651" y="258"/>
                  </a:lnTo>
                  <a:lnTo>
                    <a:pt x="651" y="301"/>
                  </a:lnTo>
                  <a:lnTo>
                    <a:pt x="0" y="301"/>
                  </a:lnTo>
                  <a:lnTo>
                    <a:pt x="0" y="258"/>
                  </a:lnTo>
                  <a:lnTo>
                    <a:pt x="1" y="220"/>
                  </a:lnTo>
                  <a:lnTo>
                    <a:pt x="3" y="186"/>
                  </a:lnTo>
                  <a:lnTo>
                    <a:pt x="6" y="156"/>
                  </a:lnTo>
                  <a:lnTo>
                    <a:pt x="13" y="130"/>
                  </a:lnTo>
                  <a:lnTo>
                    <a:pt x="23" y="107"/>
                  </a:lnTo>
                  <a:lnTo>
                    <a:pt x="38" y="89"/>
                  </a:lnTo>
                  <a:lnTo>
                    <a:pt x="57" y="73"/>
                  </a:lnTo>
                  <a:lnTo>
                    <a:pt x="84" y="61"/>
                  </a:lnTo>
                  <a:lnTo>
                    <a:pt x="115" y="48"/>
                  </a:lnTo>
                  <a:lnTo>
                    <a:pt x="144" y="35"/>
                  </a:lnTo>
                  <a:lnTo>
                    <a:pt x="167" y="25"/>
                  </a:lnTo>
                  <a:lnTo>
                    <a:pt x="186" y="14"/>
                  </a:lnTo>
                  <a:lnTo>
                    <a:pt x="200" y="6"/>
                  </a:lnTo>
                  <a:lnTo>
                    <a:pt x="208" y="1"/>
                  </a:lnTo>
                  <a:lnTo>
                    <a:pt x="2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schemeClr val="accent1">
                    <a:lumMod val="75000"/>
                  </a:schemeClr>
                </a:solidFill>
              </a:endParaRPr>
            </a:p>
          </p:txBody>
        </p:sp>
        <p:sp>
          <p:nvSpPr>
            <p:cNvPr id="49" name="Freeform 17">
              <a:extLst>
                <a:ext uri="{FF2B5EF4-FFF2-40B4-BE49-F238E27FC236}">
                  <a16:creationId xmlns:a16="http://schemas.microsoft.com/office/drawing/2014/main" id="{7C4ADF9C-0DAC-DC17-2C7F-BFAD485B2BAA}"/>
                </a:ext>
              </a:extLst>
            </p:cNvPr>
            <p:cNvSpPr>
              <a:spLocks/>
            </p:cNvSpPr>
            <p:nvPr/>
          </p:nvSpPr>
          <p:spPr bwMode="auto">
            <a:xfrm>
              <a:off x="6598495" y="936312"/>
              <a:ext cx="130273" cy="173317"/>
            </a:xfrm>
            <a:custGeom>
              <a:avLst/>
              <a:gdLst>
                <a:gd name="T0" fmla="*/ 208 w 342"/>
                <a:gd name="T1" fmla="*/ 4 h 455"/>
                <a:gd name="T2" fmla="*/ 244 w 342"/>
                <a:gd name="T3" fmla="*/ 18 h 455"/>
                <a:gd name="T4" fmla="*/ 270 w 342"/>
                <a:gd name="T5" fmla="*/ 38 h 455"/>
                <a:gd name="T6" fmla="*/ 282 w 342"/>
                <a:gd name="T7" fmla="*/ 52 h 455"/>
                <a:gd name="T8" fmla="*/ 284 w 342"/>
                <a:gd name="T9" fmla="*/ 55 h 455"/>
                <a:gd name="T10" fmla="*/ 293 w 342"/>
                <a:gd name="T11" fmla="*/ 58 h 455"/>
                <a:gd name="T12" fmla="*/ 306 w 342"/>
                <a:gd name="T13" fmla="*/ 67 h 455"/>
                <a:gd name="T14" fmla="*/ 321 w 342"/>
                <a:gd name="T15" fmla="*/ 85 h 455"/>
                <a:gd name="T16" fmla="*/ 330 w 342"/>
                <a:gd name="T17" fmla="*/ 116 h 455"/>
                <a:gd name="T18" fmla="*/ 331 w 342"/>
                <a:gd name="T19" fmla="*/ 164 h 455"/>
                <a:gd name="T20" fmla="*/ 322 w 342"/>
                <a:gd name="T21" fmla="*/ 217 h 455"/>
                <a:gd name="T22" fmla="*/ 334 w 342"/>
                <a:gd name="T23" fmla="*/ 219 h 455"/>
                <a:gd name="T24" fmla="*/ 342 w 342"/>
                <a:gd name="T25" fmla="*/ 230 h 455"/>
                <a:gd name="T26" fmla="*/ 340 w 342"/>
                <a:gd name="T27" fmla="*/ 257 h 455"/>
                <a:gd name="T28" fmla="*/ 330 w 342"/>
                <a:gd name="T29" fmla="*/ 296 h 455"/>
                <a:gd name="T30" fmla="*/ 318 w 342"/>
                <a:gd name="T31" fmla="*/ 319 h 455"/>
                <a:gd name="T32" fmla="*/ 308 w 342"/>
                <a:gd name="T33" fmla="*/ 326 h 455"/>
                <a:gd name="T34" fmla="*/ 291 w 342"/>
                <a:gd name="T35" fmla="*/ 373 h 455"/>
                <a:gd name="T36" fmla="*/ 257 w 342"/>
                <a:gd name="T37" fmla="*/ 419 h 455"/>
                <a:gd name="T38" fmla="*/ 207 w 342"/>
                <a:gd name="T39" fmla="*/ 449 h 455"/>
                <a:gd name="T40" fmla="*/ 158 w 342"/>
                <a:gd name="T41" fmla="*/ 455 h 455"/>
                <a:gd name="T42" fmla="*/ 107 w 342"/>
                <a:gd name="T43" fmla="*/ 436 h 455"/>
                <a:gd name="T44" fmla="*/ 66 w 342"/>
                <a:gd name="T45" fmla="*/ 397 h 455"/>
                <a:gd name="T46" fmla="*/ 39 w 342"/>
                <a:gd name="T47" fmla="*/ 349 h 455"/>
                <a:gd name="T48" fmla="*/ 28 w 342"/>
                <a:gd name="T49" fmla="*/ 323 h 455"/>
                <a:gd name="T50" fmla="*/ 13 w 342"/>
                <a:gd name="T51" fmla="*/ 300 h 455"/>
                <a:gd name="T52" fmla="*/ 1 w 342"/>
                <a:gd name="T53" fmla="*/ 257 h 455"/>
                <a:gd name="T54" fmla="*/ 0 w 342"/>
                <a:gd name="T55" fmla="*/ 232 h 455"/>
                <a:gd name="T56" fmla="*/ 8 w 342"/>
                <a:gd name="T57" fmla="*/ 220 h 455"/>
                <a:gd name="T58" fmla="*/ 20 w 342"/>
                <a:gd name="T59" fmla="*/ 217 h 455"/>
                <a:gd name="T60" fmla="*/ 11 w 342"/>
                <a:gd name="T61" fmla="*/ 171 h 455"/>
                <a:gd name="T62" fmla="*/ 13 w 342"/>
                <a:gd name="T63" fmla="*/ 127 h 455"/>
                <a:gd name="T64" fmla="*/ 37 w 342"/>
                <a:gd name="T65" fmla="*/ 76 h 455"/>
                <a:gd name="T66" fmla="*/ 72 w 342"/>
                <a:gd name="T67" fmla="*/ 39 h 455"/>
                <a:gd name="T68" fmla="*/ 109 w 342"/>
                <a:gd name="T69" fmla="*/ 14 h 455"/>
                <a:gd name="T70" fmla="*/ 144 w 342"/>
                <a:gd name="T71" fmla="*/ 3 h 455"/>
                <a:gd name="T72" fmla="*/ 186 w 342"/>
                <a:gd name="T73"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455">
                  <a:moveTo>
                    <a:pt x="186" y="0"/>
                  </a:moveTo>
                  <a:lnTo>
                    <a:pt x="208" y="4"/>
                  </a:lnTo>
                  <a:lnTo>
                    <a:pt x="227" y="9"/>
                  </a:lnTo>
                  <a:lnTo>
                    <a:pt x="244" y="18"/>
                  </a:lnTo>
                  <a:lnTo>
                    <a:pt x="258" y="27"/>
                  </a:lnTo>
                  <a:lnTo>
                    <a:pt x="270" y="38"/>
                  </a:lnTo>
                  <a:lnTo>
                    <a:pt x="278" y="47"/>
                  </a:lnTo>
                  <a:lnTo>
                    <a:pt x="282" y="52"/>
                  </a:lnTo>
                  <a:lnTo>
                    <a:pt x="283" y="55"/>
                  </a:lnTo>
                  <a:lnTo>
                    <a:pt x="284" y="55"/>
                  </a:lnTo>
                  <a:lnTo>
                    <a:pt x="288" y="56"/>
                  </a:lnTo>
                  <a:lnTo>
                    <a:pt x="293" y="58"/>
                  </a:lnTo>
                  <a:lnTo>
                    <a:pt x="300" y="61"/>
                  </a:lnTo>
                  <a:lnTo>
                    <a:pt x="306" y="67"/>
                  </a:lnTo>
                  <a:lnTo>
                    <a:pt x="314" y="75"/>
                  </a:lnTo>
                  <a:lnTo>
                    <a:pt x="321" y="85"/>
                  </a:lnTo>
                  <a:lnTo>
                    <a:pt x="326" y="98"/>
                  </a:lnTo>
                  <a:lnTo>
                    <a:pt x="330" y="116"/>
                  </a:lnTo>
                  <a:lnTo>
                    <a:pt x="333" y="137"/>
                  </a:lnTo>
                  <a:lnTo>
                    <a:pt x="331" y="164"/>
                  </a:lnTo>
                  <a:lnTo>
                    <a:pt x="327" y="195"/>
                  </a:lnTo>
                  <a:lnTo>
                    <a:pt x="322" y="217"/>
                  </a:lnTo>
                  <a:lnTo>
                    <a:pt x="327" y="217"/>
                  </a:lnTo>
                  <a:lnTo>
                    <a:pt x="334" y="219"/>
                  </a:lnTo>
                  <a:lnTo>
                    <a:pt x="338" y="224"/>
                  </a:lnTo>
                  <a:lnTo>
                    <a:pt x="342" y="230"/>
                  </a:lnTo>
                  <a:lnTo>
                    <a:pt x="342" y="241"/>
                  </a:lnTo>
                  <a:lnTo>
                    <a:pt x="340" y="257"/>
                  </a:lnTo>
                  <a:lnTo>
                    <a:pt x="337" y="276"/>
                  </a:lnTo>
                  <a:lnTo>
                    <a:pt x="330" y="296"/>
                  </a:lnTo>
                  <a:lnTo>
                    <a:pt x="323" y="310"/>
                  </a:lnTo>
                  <a:lnTo>
                    <a:pt x="318" y="319"/>
                  </a:lnTo>
                  <a:lnTo>
                    <a:pt x="313" y="325"/>
                  </a:lnTo>
                  <a:lnTo>
                    <a:pt x="308" y="326"/>
                  </a:lnTo>
                  <a:lnTo>
                    <a:pt x="301" y="349"/>
                  </a:lnTo>
                  <a:lnTo>
                    <a:pt x="291" y="373"/>
                  </a:lnTo>
                  <a:lnTo>
                    <a:pt x="276" y="397"/>
                  </a:lnTo>
                  <a:lnTo>
                    <a:pt x="257" y="419"/>
                  </a:lnTo>
                  <a:lnTo>
                    <a:pt x="234" y="436"/>
                  </a:lnTo>
                  <a:lnTo>
                    <a:pt x="207" y="449"/>
                  </a:lnTo>
                  <a:lnTo>
                    <a:pt x="183" y="455"/>
                  </a:lnTo>
                  <a:lnTo>
                    <a:pt x="158" y="455"/>
                  </a:lnTo>
                  <a:lnTo>
                    <a:pt x="134" y="449"/>
                  </a:lnTo>
                  <a:lnTo>
                    <a:pt x="107" y="436"/>
                  </a:lnTo>
                  <a:lnTo>
                    <a:pt x="84" y="419"/>
                  </a:lnTo>
                  <a:lnTo>
                    <a:pt x="66" y="397"/>
                  </a:lnTo>
                  <a:lnTo>
                    <a:pt x="50" y="373"/>
                  </a:lnTo>
                  <a:lnTo>
                    <a:pt x="39" y="349"/>
                  </a:lnTo>
                  <a:lnTo>
                    <a:pt x="34" y="326"/>
                  </a:lnTo>
                  <a:lnTo>
                    <a:pt x="28" y="323"/>
                  </a:lnTo>
                  <a:lnTo>
                    <a:pt x="21" y="315"/>
                  </a:lnTo>
                  <a:lnTo>
                    <a:pt x="13" y="300"/>
                  </a:lnTo>
                  <a:lnTo>
                    <a:pt x="5" y="276"/>
                  </a:lnTo>
                  <a:lnTo>
                    <a:pt x="1" y="257"/>
                  </a:lnTo>
                  <a:lnTo>
                    <a:pt x="0" y="242"/>
                  </a:lnTo>
                  <a:lnTo>
                    <a:pt x="0" y="232"/>
                  </a:lnTo>
                  <a:lnTo>
                    <a:pt x="4" y="224"/>
                  </a:lnTo>
                  <a:lnTo>
                    <a:pt x="8" y="220"/>
                  </a:lnTo>
                  <a:lnTo>
                    <a:pt x="14" y="217"/>
                  </a:lnTo>
                  <a:lnTo>
                    <a:pt x="20" y="217"/>
                  </a:lnTo>
                  <a:lnTo>
                    <a:pt x="14" y="196"/>
                  </a:lnTo>
                  <a:lnTo>
                    <a:pt x="11" y="171"/>
                  </a:lnTo>
                  <a:lnTo>
                    <a:pt x="11" y="149"/>
                  </a:lnTo>
                  <a:lnTo>
                    <a:pt x="13" y="127"/>
                  </a:lnTo>
                  <a:lnTo>
                    <a:pt x="24" y="99"/>
                  </a:lnTo>
                  <a:lnTo>
                    <a:pt x="37" y="76"/>
                  </a:lnTo>
                  <a:lnTo>
                    <a:pt x="54" y="56"/>
                  </a:lnTo>
                  <a:lnTo>
                    <a:pt x="72" y="39"/>
                  </a:lnTo>
                  <a:lnTo>
                    <a:pt x="92" y="25"/>
                  </a:lnTo>
                  <a:lnTo>
                    <a:pt x="109" y="14"/>
                  </a:lnTo>
                  <a:lnTo>
                    <a:pt x="127" y="6"/>
                  </a:lnTo>
                  <a:lnTo>
                    <a:pt x="144" y="3"/>
                  </a:lnTo>
                  <a:lnTo>
                    <a:pt x="161" y="0"/>
                  </a:lnTo>
                  <a:lnTo>
                    <a:pt x="1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schemeClr val="accent1">
                    <a:lumMod val="75000"/>
                  </a:schemeClr>
                </a:solidFill>
              </a:endParaRPr>
            </a:p>
          </p:txBody>
        </p:sp>
      </p:grpSp>
      <p:sp>
        <p:nvSpPr>
          <p:cNvPr id="50" name="Текстово поле 25">
            <a:extLst>
              <a:ext uri="{FF2B5EF4-FFF2-40B4-BE49-F238E27FC236}">
                <a16:creationId xmlns:a16="http://schemas.microsoft.com/office/drawing/2014/main" id="{927252FD-FBA8-A46A-3C2E-8A2DD22B22A1}"/>
              </a:ext>
            </a:extLst>
          </p:cNvPr>
          <p:cNvSpPr txBox="1"/>
          <p:nvPr/>
        </p:nvSpPr>
        <p:spPr>
          <a:xfrm>
            <a:off x="7798042" y="4261854"/>
            <a:ext cx="957174" cy="430887"/>
          </a:xfrm>
          <a:prstGeom prst="rect">
            <a:avLst/>
          </a:prstGeom>
          <a:noFill/>
          <a:ln>
            <a:solidFill>
              <a:schemeClr val="accent6"/>
            </a:solidFill>
          </a:ln>
        </p:spPr>
        <p:txBody>
          <a:bodyPr wrap="square" rtlCol="0">
            <a:spAutoFit/>
          </a:bodyPr>
          <a:lstStyle/>
          <a:p>
            <a:pPr algn="ctr"/>
            <a:r>
              <a:rPr lang="bg-BG" sz="1100" dirty="0"/>
              <a:t>До 9 души</a:t>
            </a:r>
          </a:p>
          <a:p>
            <a:pPr algn="ctr"/>
            <a:r>
              <a:rPr lang="bg-BG" sz="1100" dirty="0"/>
              <a:t>83.2</a:t>
            </a:r>
          </a:p>
        </p:txBody>
      </p:sp>
      <p:sp>
        <p:nvSpPr>
          <p:cNvPr id="51" name="Текстово поле 26">
            <a:extLst>
              <a:ext uri="{FF2B5EF4-FFF2-40B4-BE49-F238E27FC236}">
                <a16:creationId xmlns:a16="http://schemas.microsoft.com/office/drawing/2014/main" id="{49FB47C7-D02E-01A1-3A96-E48D9999F7B6}"/>
              </a:ext>
            </a:extLst>
          </p:cNvPr>
          <p:cNvSpPr txBox="1"/>
          <p:nvPr/>
        </p:nvSpPr>
        <p:spPr>
          <a:xfrm>
            <a:off x="7824866" y="5394186"/>
            <a:ext cx="1048784" cy="430887"/>
          </a:xfrm>
          <a:prstGeom prst="rect">
            <a:avLst/>
          </a:prstGeom>
          <a:noFill/>
          <a:ln>
            <a:solidFill>
              <a:schemeClr val="accent6"/>
            </a:solidFill>
          </a:ln>
        </p:spPr>
        <p:txBody>
          <a:bodyPr wrap="square" rtlCol="0">
            <a:spAutoFit/>
          </a:bodyPr>
          <a:lstStyle/>
          <a:p>
            <a:pPr algn="ctr"/>
            <a:r>
              <a:rPr lang="bg-BG" sz="1100" dirty="0"/>
              <a:t>10-49 души</a:t>
            </a:r>
          </a:p>
          <a:p>
            <a:pPr algn="ctr"/>
            <a:r>
              <a:rPr lang="bg-BG" sz="1100" dirty="0"/>
              <a:t>10.1</a:t>
            </a:r>
          </a:p>
        </p:txBody>
      </p:sp>
      <p:sp>
        <p:nvSpPr>
          <p:cNvPr id="52" name="Текстово поле 27">
            <a:extLst>
              <a:ext uri="{FF2B5EF4-FFF2-40B4-BE49-F238E27FC236}">
                <a16:creationId xmlns:a16="http://schemas.microsoft.com/office/drawing/2014/main" id="{6E2132E4-D704-D5C2-B535-DA04A258EC6D}"/>
              </a:ext>
            </a:extLst>
          </p:cNvPr>
          <p:cNvSpPr txBox="1"/>
          <p:nvPr/>
        </p:nvSpPr>
        <p:spPr>
          <a:xfrm>
            <a:off x="10007125" y="4260934"/>
            <a:ext cx="963456" cy="430887"/>
          </a:xfrm>
          <a:prstGeom prst="rect">
            <a:avLst/>
          </a:prstGeom>
          <a:noFill/>
          <a:ln>
            <a:solidFill>
              <a:schemeClr val="accent6"/>
            </a:solidFill>
          </a:ln>
        </p:spPr>
        <p:txBody>
          <a:bodyPr wrap="square" rtlCol="0">
            <a:spAutoFit/>
          </a:bodyPr>
          <a:lstStyle/>
          <a:p>
            <a:pPr algn="ctr"/>
            <a:r>
              <a:rPr lang="bg-BG" sz="1100" dirty="0"/>
              <a:t>50-249 души</a:t>
            </a:r>
          </a:p>
          <a:p>
            <a:pPr algn="ctr"/>
            <a:r>
              <a:rPr lang="bg-BG" sz="1100" dirty="0"/>
              <a:t>4.3</a:t>
            </a:r>
          </a:p>
        </p:txBody>
      </p:sp>
      <p:sp>
        <p:nvSpPr>
          <p:cNvPr id="53" name="Текстово поле 28">
            <a:extLst>
              <a:ext uri="{FF2B5EF4-FFF2-40B4-BE49-F238E27FC236}">
                <a16:creationId xmlns:a16="http://schemas.microsoft.com/office/drawing/2014/main" id="{7653BA03-E124-6848-0E6A-0466C241A0E4}"/>
              </a:ext>
            </a:extLst>
          </p:cNvPr>
          <p:cNvSpPr txBox="1"/>
          <p:nvPr/>
        </p:nvSpPr>
        <p:spPr>
          <a:xfrm>
            <a:off x="10007125" y="5384758"/>
            <a:ext cx="963456" cy="430887"/>
          </a:xfrm>
          <a:prstGeom prst="rect">
            <a:avLst/>
          </a:prstGeom>
          <a:noFill/>
          <a:ln>
            <a:solidFill>
              <a:schemeClr val="accent6"/>
            </a:solidFill>
          </a:ln>
        </p:spPr>
        <p:txBody>
          <a:bodyPr wrap="square" rtlCol="0">
            <a:spAutoFit/>
          </a:bodyPr>
          <a:lstStyle/>
          <a:p>
            <a:pPr algn="ctr"/>
            <a:r>
              <a:rPr lang="bg-BG" sz="1100" dirty="0"/>
              <a:t>250+ души</a:t>
            </a:r>
          </a:p>
          <a:p>
            <a:pPr algn="ctr"/>
            <a:r>
              <a:rPr lang="bg-BG" sz="1100" dirty="0"/>
              <a:t>2.4</a:t>
            </a:r>
          </a:p>
        </p:txBody>
      </p:sp>
      <p:sp>
        <p:nvSpPr>
          <p:cNvPr id="54" name="Текстово поле 36">
            <a:extLst>
              <a:ext uri="{FF2B5EF4-FFF2-40B4-BE49-F238E27FC236}">
                <a16:creationId xmlns:a16="http://schemas.microsoft.com/office/drawing/2014/main" id="{3EA8AE17-580C-113F-DA6E-F16CD0617259}"/>
              </a:ext>
            </a:extLst>
          </p:cNvPr>
          <p:cNvSpPr txBox="1"/>
          <p:nvPr/>
        </p:nvSpPr>
        <p:spPr>
          <a:xfrm>
            <a:off x="8839200" y="3784813"/>
            <a:ext cx="914400" cy="292388"/>
          </a:xfrm>
          <a:prstGeom prst="rect">
            <a:avLst/>
          </a:prstGeom>
          <a:noFill/>
        </p:spPr>
        <p:txBody>
          <a:bodyPr wrap="square" rtlCol="0">
            <a:spAutoFit/>
          </a:bodyPr>
          <a:lstStyle/>
          <a:p>
            <a:r>
              <a:rPr lang="bg-BG" sz="1300" dirty="0"/>
              <a:t>Брой заети</a:t>
            </a:r>
          </a:p>
        </p:txBody>
      </p:sp>
      <p:sp>
        <p:nvSpPr>
          <p:cNvPr id="55" name="Hexagon 8">
            <a:extLst>
              <a:ext uri="{FF2B5EF4-FFF2-40B4-BE49-F238E27FC236}">
                <a16:creationId xmlns:a16="http://schemas.microsoft.com/office/drawing/2014/main" id="{4BF9C371-BFA2-1B58-5683-053B9923328A}"/>
              </a:ext>
            </a:extLst>
          </p:cNvPr>
          <p:cNvSpPr/>
          <p:nvPr/>
        </p:nvSpPr>
        <p:spPr bwMode="auto">
          <a:xfrm>
            <a:off x="9400295" y="1343591"/>
            <a:ext cx="1168214" cy="950665"/>
          </a:xfrm>
          <a:prstGeom prst="hexagon">
            <a:avLst/>
          </a:prstGeom>
          <a:solidFill>
            <a:schemeClr val="bg1">
              <a:lumMod val="95000"/>
            </a:schemeClr>
          </a:solidFill>
          <a:ln w="12700">
            <a:noFill/>
            <a:round/>
            <a:headEnd/>
            <a:tailEnd/>
          </a:ln>
        </p:spPr>
        <p:txBody>
          <a:bodyPr wrap="none" lIns="90000" tIns="46800" rIns="90000" bIns="46800" rtlCol="0" anchor="ctr">
            <a:noAutofit/>
          </a:bodyPr>
          <a:lstStyle/>
          <a:p>
            <a:pPr algn="l"/>
            <a:endParaRPr lang="en-GB" dirty="0">
              <a:solidFill>
                <a:schemeClr val="bg1"/>
              </a:solidFill>
              <a:latin typeface="+mj-lt"/>
            </a:endParaRPr>
          </a:p>
        </p:txBody>
      </p:sp>
      <p:sp>
        <p:nvSpPr>
          <p:cNvPr id="56" name="Hexagon 8">
            <a:extLst>
              <a:ext uri="{FF2B5EF4-FFF2-40B4-BE49-F238E27FC236}">
                <a16:creationId xmlns:a16="http://schemas.microsoft.com/office/drawing/2014/main" id="{7DAE07BB-C75A-81F9-C479-27A6F994863D}"/>
              </a:ext>
            </a:extLst>
          </p:cNvPr>
          <p:cNvSpPr/>
          <p:nvPr/>
        </p:nvSpPr>
        <p:spPr bwMode="auto">
          <a:xfrm>
            <a:off x="10568509" y="1365466"/>
            <a:ext cx="1168214" cy="950665"/>
          </a:xfrm>
          <a:prstGeom prst="hexagon">
            <a:avLst/>
          </a:prstGeom>
          <a:solidFill>
            <a:schemeClr val="bg1">
              <a:lumMod val="95000"/>
            </a:schemeClr>
          </a:solidFill>
          <a:ln w="12700">
            <a:noFill/>
            <a:round/>
            <a:headEnd/>
            <a:tailEnd/>
          </a:ln>
        </p:spPr>
        <p:txBody>
          <a:bodyPr wrap="none" lIns="90000" tIns="46800" rIns="90000" bIns="46800" rtlCol="0" anchor="ctr">
            <a:noAutofit/>
          </a:bodyPr>
          <a:lstStyle/>
          <a:p>
            <a:pPr algn="l"/>
            <a:endParaRPr lang="en-GB" dirty="0">
              <a:solidFill>
                <a:schemeClr val="bg1"/>
              </a:solidFill>
              <a:latin typeface="+mj-lt"/>
            </a:endParaRPr>
          </a:p>
        </p:txBody>
      </p:sp>
      <p:sp>
        <p:nvSpPr>
          <p:cNvPr id="57" name="Hexagon 8">
            <a:extLst>
              <a:ext uri="{FF2B5EF4-FFF2-40B4-BE49-F238E27FC236}">
                <a16:creationId xmlns:a16="http://schemas.microsoft.com/office/drawing/2014/main" id="{3DD7F886-3D74-42DE-61CE-5C209616EB96}"/>
              </a:ext>
            </a:extLst>
          </p:cNvPr>
          <p:cNvSpPr/>
          <p:nvPr/>
        </p:nvSpPr>
        <p:spPr bwMode="auto">
          <a:xfrm>
            <a:off x="10568509" y="2343397"/>
            <a:ext cx="1168214" cy="950665"/>
          </a:xfrm>
          <a:prstGeom prst="hexagon">
            <a:avLst/>
          </a:prstGeom>
          <a:solidFill>
            <a:schemeClr val="bg1">
              <a:lumMod val="95000"/>
            </a:schemeClr>
          </a:solidFill>
          <a:ln w="12700">
            <a:noFill/>
            <a:round/>
            <a:headEnd/>
            <a:tailEnd/>
          </a:ln>
        </p:spPr>
        <p:txBody>
          <a:bodyPr wrap="none" lIns="90000" tIns="46800" rIns="90000" bIns="46800" rtlCol="0" anchor="ctr">
            <a:noAutofit/>
          </a:bodyPr>
          <a:lstStyle/>
          <a:p>
            <a:pPr algn="l"/>
            <a:endParaRPr lang="en-GB" dirty="0">
              <a:solidFill>
                <a:schemeClr val="bg1"/>
              </a:solidFill>
              <a:latin typeface="+mj-lt"/>
            </a:endParaRPr>
          </a:p>
        </p:txBody>
      </p:sp>
      <p:sp>
        <p:nvSpPr>
          <p:cNvPr id="58" name="Hexagon 57">
            <a:extLst>
              <a:ext uri="{FF2B5EF4-FFF2-40B4-BE49-F238E27FC236}">
                <a16:creationId xmlns:a16="http://schemas.microsoft.com/office/drawing/2014/main" id="{1EAC43FA-6689-6244-7121-03ED81B77CA4}"/>
              </a:ext>
            </a:extLst>
          </p:cNvPr>
          <p:cNvSpPr/>
          <p:nvPr/>
        </p:nvSpPr>
        <p:spPr bwMode="auto">
          <a:xfrm>
            <a:off x="9400295" y="2328822"/>
            <a:ext cx="1168214" cy="950665"/>
          </a:xfrm>
          <a:prstGeom prst="hexagon">
            <a:avLst/>
          </a:prstGeom>
          <a:solidFill>
            <a:schemeClr val="bg1">
              <a:lumMod val="95000"/>
            </a:schemeClr>
          </a:solidFill>
          <a:ln w="12700">
            <a:noFill/>
            <a:round/>
            <a:headEnd/>
            <a:tailEnd/>
          </a:ln>
        </p:spPr>
        <p:txBody>
          <a:bodyPr wrap="none" lIns="90000" tIns="46800" rIns="90000" bIns="46800" rtlCol="0" anchor="ctr">
            <a:noAutofit/>
          </a:bodyPr>
          <a:lstStyle/>
          <a:p>
            <a:pPr algn="l"/>
            <a:endParaRPr lang="en-GB" dirty="0">
              <a:solidFill>
                <a:schemeClr val="bg1"/>
              </a:solidFill>
              <a:latin typeface="+mj-lt"/>
            </a:endParaRPr>
          </a:p>
        </p:txBody>
      </p:sp>
      <p:sp>
        <p:nvSpPr>
          <p:cNvPr id="59" name="Текстово поле 10">
            <a:extLst>
              <a:ext uri="{FF2B5EF4-FFF2-40B4-BE49-F238E27FC236}">
                <a16:creationId xmlns:a16="http://schemas.microsoft.com/office/drawing/2014/main" id="{6AEC2CE8-7902-4B4E-7456-8E1711B5C946}"/>
              </a:ext>
            </a:extLst>
          </p:cNvPr>
          <p:cNvSpPr txBox="1"/>
          <p:nvPr/>
        </p:nvSpPr>
        <p:spPr>
          <a:xfrm>
            <a:off x="10395099" y="1365466"/>
            <a:ext cx="1697532" cy="600164"/>
          </a:xfrm>
          <a:prstGeom prst="rect">
            <a:avLst/>
          </a:prstGeom>
          <a:noFill/>
        </p:spPr>
        <p:txBody>
          <a:bodyPr wrap="square" rtlCol="0">
            <a:spAutoFit/>
          </a:bodyPr>
          <a:lstStyle/>
          <a:p>
            <a:pPr algn="ctr"/>
            <a:r>
              <a:rPr lang="bg-BG" sz="1100" dirty="0"/>
              <a:t>Индустрия/ Промишленост/ Производство</a:t>
            </a:r>
          </a:p>
          <a:p>
            <a:pPr algn="ctr"/>
            <a:r>
              <a:rPr lang="bg-BG" sz="1100" dirty="0"/>
              <a:t>16.5</a:t>
            </a:r>
          </a:p>
        </p:txBody>
      </p:sp>
      <p:sp>
        <p:nvSpPr>
          <p:cNvPr id="60" name="Freeform 210">
            <a:extLst>
              <a:ext uri="{FF2B5EF4-FFF2-40B4-BE49-F238E27FC236}">
                <a16:creationId xmlns:a16="http://schemas.microsoft.com/office/drawing/2014/main" id="{FE4438C6-E894-115F-4F73-FFF697E11EBE}"/>
              </a:ext>
            </a:extLst>
          </p:cNvPr>
          <p:cNvSpPr/>
          <p:nvPr/>
        </p:nvSpPr>
        <p:spPr>
          <a:xfrm>
            <a:off x="10970581" y="1931949"/>
            <a:ext cx="365731" cy="365731"/>
          </a:xfrm>
          <a:custGeom>
            <a:avLst/>
            <a:gdLst/>
            <a:ahLst/>
            <a:cxnLst/>
            <a:rect l="l" t="t" r="r" b="b"/>
            <a:pathLst>
              <a:path w="487641" h="487641">
                <a:moveTo>
                  <a:pt x="214100" y="0"/>
                </a:moveTo>
                <a:cubicBezTo>
                  <a:pt x="221613" y="0"/>
                  <a:pt x="227998" y="2630"/>
                  <a:pt x="233257" y="7888"/>
                </a:cubicBezTo>
                <a:lnTo>
                  <a:pt x="348194" y="122826"/>
                </a:lnTo>
                <a:cubicBezTo>
                  <a:pt x="353453" y="128085"/>
                  <a:pt x="356082" y="134470"/>
                  <a:pt x="356082" y="141983"/>
                </a:cubicBezTo>
                <a:cubicBezTo>
                  <a:pt x="356082" y="144424"/>
                  <a:pt x="355659" y="146865"/>
                  <a:pt x="354814" y="149307"/>
                </a:cubicBezTo>
                <a:cubicBezTo>
                  <a:pt x="353969" y="151748"/>
                  <a:pt x="353124" y="153814"/>
                  <a:pt x="352279" y="155505"/>
                </a:cubicBezTo>
                <a:cubicBezTo>
                  <a:pt x="351434" y="157195"/>
                  <a:pt x="349979" y="159261"/>
                  <a:pt x="347913" y="161702"/>
                </a:cubicBezTo>
                <a:cubicBezTo>
                  <a:pt x="345847" y="164144"/>
                  <a:pt x="344297" y="165881"/>
                  <a:pt x="343264" y="166914"/>
                </a:cubicBezTo>
                <a:cubicBezTo>
                  <a:pt x="342232" y="167947"/>
                  <a:pt x="340307" y="169731"/>
                  <a:pt x="337489" y="172266"/>
                </a:cubicBezTo>
                <a:cubicBezTo>
                  <a:pt x="334672" y="174802"/>
                  <a:pt x="332982" y="176351"/>
                  <a:pt x="332419" y="176914"/>
                </a:cubicBezTo>
                <a:cubicBezTo>
                  <a:pt x="326785" y="182173"/>
                  <a:pt x="320399" y="184802"/>
                  <a:pt x="313262" y="184802"/>
                </a:cubicBezTo>
                <a:cubicBezTo>
                  <a:pt x="311384" y="184802"/>
                  <a:pt x="309694" y="184662"/>
                  <a:pt x="308191" y="184380"/>
                </a:cubicBezTo>
                <a:cubicBezTo>
                  <a:pt x="306688" y="184098"/>
                  <a:pt x="305140" y="183582"/>
                  <a:pt x="303544" y="182830"/>
                </a:cubicBezTo>
                <a:cubicBezTo>
                  <a:pt x="301946" y="182079"/>
                  <a:pt x="300679" y="181516"/>
                  <a:pt x="299740" y="181140"/>
                </a:cubicBezTo>
                <a:cubicBezTo>
                  <a:pt x="298801" y="180764"/>
                  <a:pt x="297534" y="179826"/>
                  <a:pt x="295937" y="178323"/>
                </a:cubicBezTo>
                <a:cubicBezTo>
                  <a:pt x="294341" y="176821"/>
                  <a:pt x="293261" y="175882"/>
                  <a:pt x="292697" y="175506"/>
                </a:cubicBezTo>
                <a:cubicBezTo>
                  <a:pt x="292134" y="175130"/>
                  <a:pt x="290913" y="173956"/>
                  <a:pt x="289035" y="171984"/>
                </a:cubicBezTo>
                <a:cubicBezTo>
                  <a:pt x="287157" y="170012"/>
                  <a:pt x="286030" y="168839"/>
                  <a:pt x="285655" y="168463"/>
                </a:cubicBezTo>
                <a:cubicBezTo>
                  <a:pt x="288283" y="171092"/>
                  <a:pt x="289598" y="174285"/>
                  <a:pt x="289598" y="178041"/>
                </a:cubicBezTo>
                <a:cubicBezTo>
                  <a:pt x="289598" y="181798"/>
                  <a:pt x="288283" y="184990"/>
                  <a:pt x="285655" y="187620"/>
                </a:cubicBezTo>
                <a:lnTo>
                  <a:pt x="250159" y="223115"/>
                </a:lnTo>
                <a:lnTo>
                  <a:pt x="322277" y="295233"/>
                </a:lnTo>
                <a:cubicBezTo>
                  <a:pt x="330353" y="287157"/>
                  <a:pt x="339367" y="283119"/>
                  <a:pt x="349321" y="283119"/>
                </a:cubicBezTo>
                <a:cubicBezTo>
                  <a:pt x="359087" y="283119"/>
                  <a:pt x="367633" y="286594"/>
                  <a:pt x="374957" y="293543"/>
                </a:cubicBezTo>
                <a:lnTo>
                  <a:pt x="477218" y="395803"/>
                </a:lnTo>
                <a:cubicBezTo>
                  <a:pt x="484166" y="403128"/>
                  <a:pt x="487641" y="411673"/>
                  <a:pt x="487641" y="421439"/>
                </a:cubicBezTo>
                <a:cubicBezTo>
                  <a:pt x="487641" y="431393"/>
                  <a:pt x="484166" y="439844"/>
                  <a:pt x="477218" y="446793"/>
                </a:cubicBezTo>
                <a:lnTo>
                  <a:pt x="447074" y="477218"/>
                </a:lnTo>
                <a:cubicBezTo>
                  <a:pt x="439750" y="484167"/>
                  <a:pt x="431205" y="487641"/>
                  <a:pt x="421439" y="487641"/>
                </a:cubicBezTo>
                <a:cubicBezTo>
                  <a:pt x="411485" y="487641"/>
                  <a:pt x="403034" y="484167"/>
                  <a:pt x="396085" y="477218"/>
                </a:cubicBezTo>
                <a:lnTo>
                  <a:pt x="293824" y="374675"/>
                </a:lnTo>
                <a:cubicBezTo>
                  <a:pt x="286687" y="367914"/>
                  <a:pt x="283119" y="359463"/>
                  <a:pt x="283119" y="349321"/>
                </a:cubicBezTo>
                <a:cubicBezTo>
                  <a:pt x="283119" y="339368"/>
                  <a:pt x="287157" y="330353"/>
                  <a:pt x="295232" y="322277"/>
                </a:cubicBezTo>
                <a:lnTo>
                  <a:pt x="223115" y="250159"/>
                </a:lnTo>
                <a:lnTo>
                  <a:pt x="187619" y="285655"/>
                </a:lnTo>
                <a:cubicBezTo>
                  <a:pt x="184990" y="288284"/>
                  <a:pt x="181797" y="289599"/>
                  <a:pt x="178041" y="289599"/>
                </a:cubicBezTo>
                <a:cubicBezTo>
                  <a:pt x="174285" y="289599"/>
                  <a:pt x="171092" y="288284"/>
                  <a:pt x="168463" y="285655"/>
                </a:cubicBezTo>
                <a:cubicBezTo>
                  <a:pt x="168838" y="286030"/>
                  <a:pt x="170012" y="287157"/>
                  <a:pt x="171985" y="289035"/>
                </a:cubicBezTo>
                <a:cubicBezTo>
                  <a:pt x="173957" y="290913"/>
                  <a:pt x="175130" y="292134"/>
                  <a:pt x="175506" y="292697"/>
                </a:cubicBezTo>
                <a:cubicBezTo>
                  <a:pt x="175882" y="293261"/>
                  <a:pt x="176820" y="294341"/>
                  <a:pt x="178323" y="295937"/>
                </a:cubicBezTo>
                <a:cubicBezTo>
                  <a:pt x="179825" y="297533"/>
                  <a:pt x="180764" y="298801"/>
                  <a:pt x="181140" y="299740"/>
                </a:cubicBezTo>
                <a:cubicBezTo>
                  <a:pt x="181516" y="300679"/>
                  <a:pt x="182079" y="301947"/>
                  <a:pt x="182830" y="303543"/>
                </a:cubicBezTo>
                <a:cubicBezTo>
                  <a:pt x="183581" y="305140"/>
                  <a:pt x="184098" y="306689"/>
                  <a:pt x="184380" y="308192"/>
                </a:cubicBezTo>
                <a:cubicBezTo>
                  <a:pt x="184661" y="309694"/>
                  <a:pt x="184802" y="311384"/>
                  <a:pt x="184802" y="313262"/>
                </a:cubicBezTo>
                <a:cubicBezTo>
                  <a:pt x="184802" y="320399"/>
                  <a:pt x="182173" y="326784"/>
                  <a:pt x="176915" y="332419"/>
                </a:cubicBezTo>
                <a:cubicBezTo>
                  <a:pt x="176351" y="332982"/>
                  <a:pt x="174802" y="334672"/>
                  <a:pt x="172266" y="337489"/>
                </a:cubicBezTo>
                <a:cubicBezTo>
                  <a:pt x="169731" y="340306"/>
                  <a:pt x="167947" y="342232"/>
                  <a:pt x="166913" y="343264"/>
                </a:cubicBezTo>
                <a:cubicBezTo>
                  <a:pt x="165881" y="344297"/>
                  <a:pt x="164143" y="345847"/>
                  <a:pt x="161702" y="347913"/>
                </a:cubicBezTo>
                <a:cubicBezTo>
                  <a:pt x="159261" y="349979"/>
                  <a:pt x="157195" y="351434"/>
                  <a:pt x="155504" y="352279"/>
                </a:cubicBezTo>
                <a:cubicBezTo>
                  <a:pt x="153814" y="353124"/>
                  <a:pt x="151748" y="353970"/>
                  <a:pt x="149307" y="354815"/>
                </a:cubicBezTo>
                <a:cubicBezTo>
                  <a:pt x="146865" y="355660"/>
                  <a:pt x="144424" y="356082"/>
                  <a:pt x="141982" y="356082"/>
                </a:cubicBezTo>
                <a:cubicBezTo>
                  <a:pt x="134470" y="356082"/>
                  <a:pt x="128084" y="353453"/>
                  <a:pt x="122826" y="348194"/>
                </a:cubicBezTo>
                <a:lnTo>
                  <a:pt x="7888" y="233257"/>
                </a:lnTo>
                <a:cubicBezTo>
                  <a:pt x="2630" y="227998"/>
                  <a:pt x="0" y="221613"/>
                  <a:pt x="0" y="214100"/>
                </a:cubicBezTo>
                <a:cubicBezTo>
                  <a:pt x="0" y="211659"/>
                  <a:pt x="422" y="209217"/>
                  <a:pt x="1268" y="206776"/>
                </a:cubicBezTo>
                <a:cubicBezTo>
                  <a:pt x="2113" y="204334"/>
                  <a:pt x="2958" y="202268"/>
                  <a:pt x="3804" y="200578"/>
                </a:cubicBezTo>
                <a:cubicBezTo>
                  <a:pt x="4649" y="198888"/>
                  <a:pt x="6104" y="196822"/>
                  <a:pt x="8170" y="194380"/>
                </a:cubicBezTo>
                <a:cubicBezTo>
                  <a:pt x="10235" y="191939"/>
                  <a:pt x="11785" y="190202"/>
                  <a:pt x="12818" y="189169"/>
                </a:cubicBezTo>
                <a:cubicBezTo>
                  <a:pt x="13851" y="188136"/>
                  <a:pt x="15776" y="186352"/>
                  <a:pt x="18593" y="183816"/>
                </a:cubicBezTo>
                <a:cubicBezTo>
                  <a:pt x="21410" y="181281"/>
                  <a:pt x="23101" y="179732"/>
                  <a:pt x="23664" y="179168"/>
                </a:cubicBezTo>
                <a:cubicBezTo>
                  <a:pt x="29298" y="173910"/>
                  <a:pt x="35683" y="171280"/>
                  <a:pt x="42820" y="171280"/>
                </a:cubicBezTo>
                <a:cubicBezTo>
                  <a:pt x="44698" y="171280"/>
                  <a:pt x="46388" y="171421"/>
                  <a:pt x="47891" y="171703"/>
                </a:cubicBezTo>
                <a:cubicBezTo>
                  <a:pt x="49393" y="171984"/>
                  <a:pt x="50943" y="172501"/>
                  <a:pt x="52539" y="173252"/>
                </a:cubicBezTo>
                <a:cubicBezTo>
                  <a:pt x="54136" y="174004"/>
                  <a:pt x="55403" y="174567"/>
                  <a:pt x="56342" y="174942"/>
                </a:cubicBezTo>
                <a:cubicBezTo>
                  <a:pt x="57281" y="175318"/>
                  <a:pt x="58549" y="176257"/>
                  <a:pt x="60146" y="177760"/>
                </a:cubicBezTo>
                <a:cubicBezTo>
                  <a:pt x="61742" y="179262"/>
                  <a:pt x="62822" y="180201"/>
                  <a:pt x="63385" y="180577"/>
                </a:cubicBezTo>
                <a:cubicBezTo>
                  <a:pt x="63949" y="180952"/>
                  <a:pt x="65169" y="182126"/>
                  <a:pt x="67047" y="184098"/>
                </a:cubicBezTo>
                <a:cubicBezTo>
                  <a:pt x="68925" y="186070"/>
                  <a:pt x="70052" y="187244"/>
                  <a:pt x="70428" y="187620"/>
                </a:cubicBezTo>
                <a:cubicBezTo>
                  <a:pt x="67799" y="184990"/>
                  <a:pt x="66484" y="181798"/>
                  <a:pt x="66484" y="178041"/>
                </a:cubicBezTo>
                <a:cubicBezTo>
                  <a:pt x="66484" y="174285"/>
                  <a:pt x="67799" y="171092"/>
                  <a:pt x="70428" y="168463"/>
                </a:cubicBezTo>
                <a:lnTo>
                  <a:pt x="168463" y="70428"/>
                </a:lnTo>
                <a:cubicBezTo>
                  <a:pt x="171092" y="67799"/>
                  <a:pt x="174285" y="66484"/>
                  <a:pt x="178041" y="66484"/>
                </a:cubicBezTo>
                <a:cubicBezTo>
                  <a:pt x="181797" y="66484"/>
                  <a:pt x="184990" y="67799"/>
                  <a:pt x="187619" y="70428"/>
                </a:cubicBezTo>
                <a:cubicBezTo>
                  <a:pt x="187243" y="70052"/>
                  <a:pt x="186070" y="68926"/>
                  <a:pt x="184098" y="67048"/>
                </a:cubicBezTo>
                <a:cubicBezTo>
                  <a:pt x="182126" y="65169"/>
                  <a:pt x="180952" y="63949"/>
                  <a:pt x="180577" y="63385"/>
                </a:cubicBezTo>
                <a:cubicBezTo>
                  <a:pt x="180201" y="62822"/>
                  <a:pt x="179262" y="61742"/>
                  <a:pt x="177760" y="60146"/>
                </a:cubicBezTo>
                <a:cubicBezTo>
                  <a:pt x="176257" y="58549"/>
                  <a:pt x="175318" y="57282"/>
                  <a:pt x="174942" y="56342"/>
                </a:cubicBezTo>
                <a:cubicBezTo>
                  <a:pt x="174567" y="55404"/>
                  <a:pt x="174003" y="54136"/>
                  <a:pt x="173252" y="52539"/>
                </a:cubicBezTo>
                <a:cubicBezTo>
                  <a:pt x="172501" y="50943"/>
                  <a:pt x="171985" y="49394"/>
                  <a:pt x="171703" y="47891"/>
                </a:cubicBezTo>
                <a:cubicBezTo>
                  <a:pt x="171421" y="46389"/>
                  <a:pt x="171280" y="44698"/>
                  <a:pt x="171280" y="42820"/>
                </a:cubicBezTo>
                <a:cubicBezTo>
                  <a:pt x="171280" y="35684"/>
                  <a:pt x="173910" y="29298"/>
                  <a:pt x="179168" y="23664"/>
                </a:cubicBezTo>
                <a:cubicBezTo>
                  <a:pt x="179732" y="23101"/>
                  <a:pt x="181281" y="21411"/>
                  <a:pt x="183816" y="18593"/>
                </a:cubicBezTo>
                <a:cubicBezTo>
                  <a:pt x="186351" y="15776"/>
                  <a:pt x="188136" y="13851"/>
                  <a:pt x="189168" y="12818"/>
                </a:cubicBezTo>
                <a:cubicBezTo>
                  <a:pt x="190201" y="11785"/>
                  <a:pt x="191938" y="10236"/>
                  <a:pt x="194381" y="8170"/>
                </a:cubicBezTo>
                <a:cubicBezTo>
                  <a:pt x="196822" y="6104"/>
                  <a:pt x="198888" y="4649"/>
                  <a:pt x="200578" y="3803"/>
                </a:cubicBezTo>
                <a:cubicBezTo>
                  <a:pt x="202268" y="2958"/>
                  <a:pt x="204334" y="2113"/>
                  <a:pt x="206775" y="1268"/>
                </a:cubicBezTo>
                <a:cubicBezTo>
                  <a:pt x="209217" y="423"/>
                  <a:pt x="211659" y="0"/>
                  <a:pt x="2141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Freeform 359">
            <a:extLst>
              <a:ext uri="{FF2B5EF4-FFF2-40B4-BE49-F238E27FC236}">
                <a16:creationId xmlns:a16="http://schemas.microsoft.com/office/drawing/2014/main" id="{78DD4CE8-C286-D61A-3A43-DB51FBC0A9B3}"/>
              </a:ext>
            </a:extLst>
          </p:cNvPr>
          <p:cNvSpPr/>
          <p:nvPr/>
        </p:nvSpPr>
        <p:spPr>
          <a:xfrm>
            <a:off x="9833460" y="1961579"/>
            <a:ext cx="351575" cy="297486"/>
          </a:xfrm>
          <a:custGeom>
            <a:avLst/>
            <a:gdLst>
              <a:gd name="connsiteX0" fmla="*/ 396649 w 468766"/>
              <a:gd name="connsiteY0" fmla="*/ 324530 h 396648"/>
              <a:gd name="connsiteX1" fmla="*/ 422003 w 468766"/>
              <a:gd name="connsiteY1" fmla="*/ 335235 h 396648"/>
              <a:gd name="connsiteX2" fmla="*/ 432708 w 468766"/>
              <a:gd name="connsiteY2" fmla="*/ 360589 h 396648"/>
              <a:gd name="connsiteX3" fmla="*/ 422003 w 468766"/>
              <a:gd name="connsiteY3" fmla="*/ 385943 h 396648"/>
              <a:gd name="connsiteX4" fmla="*/ 396649 w 468766"/>
              <a:gd name="connsiteY4" fmla="*/ 396648 h 396648"/>
              <a:gd name="connsiteX5" fmla="*/ 371295 w 468766"/>
              <a:gd name="connsiteY5" fmla="*/ 385943 h 396648"/>
              <a:gd name="connsiteX6" fmla="*/ 360591 w 468766"/>
              <a:gd name="connsiteY6" fmla="*/ 360589 h 396648"/>
              <a:gd name="connsiteX7" fmla="*/ 371295 w 468766"/>
              <a:gd name="connsiteY7" fmla="*/ 335235 h 396648"/>
              <a:gd name="connsiteX8" fmla="*/ 396649 w 468766"/>
              <a:gd name="connsiteY8" fmla="*/ 324530 h 396648"/>
              <a:gd name="connsiteX9" fmla="*/ 144236 w 468766"/>
              <a:gd name="connsiteY9" fmla="*/ 324530 h 396648"/>
              <a:gd name="connsiteX10" fmla="*/ 169590 w 468766"/>
              <a:gd name="connsiteY10" fmla="*/ 335235 h 396648"/>
              <a:gd name="connsiteX11" fmla="*/ 180295 w 468766"/>
              <a:gd name="connsiteY11" fmla="*/ 360589 h 396648"/>
              <a:gd name="connsiteX12" fmla="*/ 169590 w 468766"/>
              <a:gd name="connsiteY12" fmla="*/ 385943 h 396648"/>
              <a:gd name="connsiteX13" fmla="*/ 144236 w 468766"/>
              <a:gd name="connsiteY13" fmla="*/ 396648 h 396648"/>
              <a:gd name="connsiteX14" fmla="*/ 118882 w 468766"/>
              <a:gd name="connsiteY14" fmla="*/ 385943 h 396648"/>
              <a:gd name="connsiteX15" fmla="*/ 108177 w 468766"/>
              <a:gd name="connsiteY15" fmla="*/ 360589 h 396648"/>
              <a:gd name="connsiteX16" fmla="*/ 118882 w 468766"/>
              <a:gd name="connsiteY16" fmla="*/ 335235 h 396648"/>
              <a:gd name="connsiteX17" fmla="*/ 144236 w 468766"/>
              <a:gd name="connsiteY17" fmla="*/ 324530 h 396648"/>
              <a:gd name="connsiteX18" fmla="*/ 18030 w 468766"/>
              <a:gd name="connsiteY18" fmla="*/ 0 h 396648"/>
              <a:gd name="connsiteX19" fmla="*/ 90148 w 468766"/>
              <a:gd name="connsiteY19" fmla="*/ 0 h 396648"/>
              <a:gd name="connsiteX20" fmla="*/ 98176 w 468766"/>
              <a:gd name="connsiteY20" fmla="*/ 1831 h 396648"/>
              <a:gd name="connsiteX21" fmla="*/ 103670 w 468766"/>
              <a:gd name="connsiteY21" fmla="*/ 6198 h 396648"/>
              <a:gd name="connsiteX22" fmla="*/ 107332 w 468766"/>
              <a:gd name="connsiteY22" fmla="*/ 13100 h 396648"/>
              <a:gd name="connsiteX23" fmla="*/ 109586 w 468766"/>
              <a:gd name="connsiteY23" fmla="*/ 20424 h 396648"/>
              <a:gd name="connsiteX24" fmla="*/ 111135 w 468766"/>
              <a:gd name="connsiteY24" fmla="*/ 28734 h 396648"/>
              <a:gd name="connsiteX25" fmla="*/ 112403 w 468766"/>
              <a:gd name="connsiteY25" fmla="*/ 36059 h 396648"/>
              <a:gd name="connsiteX26" fmla="*/ 450737 w 468766"/>
              <a:gd name="connsiteY26" fmla="*/ 36059 h 396648"/>
              <a:gd name="connsiteX27" fmla="*/ 463414 w 468766"/>
              <a:gd name="connsiteY27" fmla="*/ 41411 h 396648"/>
              <a:gd name="connsiteX28" fmla="*/ 468766 w 468766"/>
              <a:gd name="connsiteY28" fmla="*/ 54088 h 396648"/>
              <a:gd name="connsiteX29" fmla="*/ 468766 w 468766"/>
              <a:gd name="connsiteY29" fmla="*/ 198324 h 396648"/>
              <a:gd name="connsiteX30" fmla="*/ 464118 w 468766"/>
              <a:gd name="connsiteY30" fmla="*/ 210297 h 396648"/>
              <a:gd name="connsiteX31" fmla="*/ 452709 w 468766"/>
              <a:gd name="connsiteY31" fmla="*/ 216353 h 396648"/>
              <a:gd name="connsiteX32" fmla="*/ 158603 w 468766"/>
              <a:gd name="connsiteY32" fmla="*/ 250722 h 396648"/>
              <a:gd name="connsiteX33" fmla="*/ 162265 w 468766"/>
              <a:gd name="connsiteY33" fmla="*/ 270442 h 396648"/>
              <a:gd name="connsiteX34" fmla="*/ 155504 w 468766"/>
              <a:gd name="connsiteY34" fmla="*/ 288471 h 396648"/>
              <a:gd name="connsiteX35" fmla="*/ 414678 w 468766"/>
              <a:gd name="connsiteY35" fmla="*/ 288471 h 396648"/>
              <a:gd name="connsiteX36" fmla="*/ 427355 w 468766"/>
              <a:gd name="connsiteY36" fmla="*/ 293824 h 396648"/>
              <a:gd name="connsiteX37" fmla="*/ 432707 w 468766"/>
              <a:gd name="connsiteY37" fmla="*/ 306501 h 396648"/>
              <a:gd name="connsiteX38" fmla="*/ 427355 w 468766"/>
              <a:gd name="connsiteY38" fmla="*/ 319178 h 396648"/>
              <a:gd name="connsiteX39" fmla="*/ 414678 w 468766"/>
              <a:gd name="connsiteY39" fmla="*/ 324530 h 396648"/>
              <a:gd name="connsiteX40" fmla="*/ 396649 w 468766"/>
              <a:gd name="connsiteY40" fmla="*/ 324530 h 396648"/>
              <a:gd name="connsiteX41" fmla="*/ 396648 w 468766"/>
              <a:gd name="connsiteY41" fmla="*/ 324530 h 396648"/>
              <a:gd name="connsiteX42" fmla="*/ 144236 w 468766"/>
              <a:gd name="connsiteY42" fmla="*/ 324530 h 396648"/>
              <a:gd name="connsiteX43" fmla="*/ 126206 w 468766"/>
              <a:gd name="connsiteY43" fmla="*/ 324530 h 396648"/>
              <a:gd name="connsiteX44" fmla="*/ 113530 w 468766"/>
              <a:gd name="connsiteY44" fmla="*/ 319178 h 396648"/>
              <a:gd name="connsiteX45" fmla="*/ 108177 w 468766"/>
              <a:gd name="connsiteY45" fmla="*/ 306501 h 396648"/>
              <a:gd name="connsiteX46" fmla="*/ 110431 w 468766"/>
              <a:gd name="connsiteY46" fmla="*/ 297627 h 396648"/>
              <a:gd name="connsiteX47" fmla="*/ 114938 w 468766"/>
              <a:gd name="connsiteY47" fmla="*/ 287485 h 396648"/>
              <a:gd name="connsiteX48" fmla="*/ 120995 w 468766"/>
              <a:gd name="connsiteY48" fmla="*/ 276217 h 396648"/>
              <a:gd name="connsiteX49" fmla="*/ 125361 w 468766"/>
              <a:gd name="connsiteY49" fmla="*/ 267907 h 396648"/>
              <a:gd name="connsiteX50" fmla="*/ 75499 w 468766"/>
              <a:gd name="connsiteY50" fmla="*/ 36059 h 396648"/>
              <a:gd name="connsiteX51" fmla="*/ 18030 w 468766"/>
              <a:gd name="connsiteY51" fmla="*/ 36059 h 396648"/>
              <a:gd name="connsiteX52" fmla="*/ 5353 w 468766"/>
              <a:gd name="connsiteY52" fmla="*/ 30706 h 396648"/>
              <a:gd name="connsiteX53" fmla="*/ 0 w 468766"/>
              <a:gd name="connsiteY53" fmla="*/ 18030 h 396648"/>
              <a:gd name="connsiteX54" fmla="*/ 5353 w 468766"/>
              <a:gd name="connsiteY54" fmla="*/ 5352 h 396648"/>
              <a:gd name="connsiteX55" fmla="*/ 18030 w 468766"/>
              <a:gd name="connsiteY55"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68766" h="396648">
                <a:moveTo>
                  <a:pt x="396649" y="324530"/>
                </a:moveTo>
                <a:cubicBezTo>
                  <a:pt x="406415" y="324530"/>
                  <a:pt x="414867" y="328099"/>
                  <a:pt x="422003" y="335235"/>
                </a:cubicBezTo>
                <a:cubicBezTo>
                  <a:pt x="429140" y="342372"/>
                  <a:pt x="432708" y="350823"/>
                  <a:pt x="432708" y="360589"/>
                </a:cubicBezTo>
                <a:cubicBezTo>
                  <a:pt x="432708" y="370355"/>
                  <a:pt x="429140" y="378806"/>
                  <a:pt x="422003" y="385943"/>
                </a:cubicBezTo>
                <a:cubicBezTo>
                  <a:pt x="414867" y="393080"/>
                  <a:pt x="406415" y="396648"/>
                  <a:pt x="396649" y="396648"/>
                </a:cubicBezTo>
                <a:cubicBezTo>
                  <a:pt x="386884" y="396648"/>
                  <a:pt x="378432" y="393080"/>
                  <a:pt x="371295" y="385943"/>
                </a:cubicBezTo>
                <a:cubicBezTo>
                  <a:pt x="364159" y="378806"/>
                  <a:pt x="360591" y="370355"/>
                  <a:pt x="360591" y="360589"/>
                </a:cubicBezTo>
                <a:cubicBezTo>
                  <a:pt x="360591" y="350823"/>
                  <a:pt x="364159" y="342372"/>
                  <a:pt x="371295" y="335235"/>
                </a:cubicBezTo>
                <a:cubicBezTo>
                  <a:pt x="378432" y="328099"/>
                  <a:pt x="386884" y="324530"/>
                  <a:pt x="396649" y="324530"/>
                </a:cubicBezTo>
                <a:close/>
                <a:moveTo>
                  <a:pt x="144236" y="324530"/>
                </a:moveTo>
                <a:cubicBezTo>
                  <a:pt x="154002" y="324530"/>
                  <a:pt x="162453" y="328099"/>
                  <a:pt x="169590" y="335235"/>
                </a:cubicBezTo>
                <a:cubicBezTo>
                  <a:pt x="176727" y="342372"/>
                  <a:pt x="180295" y="350823"/>
                  <a:pt x="180295" y="360589"/>
                </a:cubicBezTo>
                <a:cubicBezTo>
                  <a:pt x="180295" y="370355"/>
                  <a:pt x="176727" y="378806"/>
                  <a:pt x="169590" y="385943"/>
                </a:cubicBezTo>
                <a:cubicBezTo>
                  <a:pt x="162453" y="393080"/>
                  <a:pt x="154002" y="396648"/>
                  <a:pt x="144236" y="396648"/>
                </a:cubicBezTo>
                <a:cubicBezTo>
                  <a:pt x="134470" y="396648"/>
                  <a:pt x="126019" y="393080"/>
                  <a:pt x="118882" y="385943"/>
                </a:cubicBezTo>
                <a:cubicBezTo>
                  <a:pt x="111745" y="378806"/>
                  <a:pt x="108177" y="370355"/>
                  <a:pt x="108177" y="360589"/>
                </a:cubicBezTo>
                <a:cubicBezTo>
                  <a:pt x="108177" y="350823"/>
                  <a:pt x="111745" y="342372"/>
                  <a:pt x="118882" y="335235"/>
                </a:cubicBezTo>
                <a:cubicBezTo>
                  <a:pt x="126019" y="328099"/>
                  <a:pt x="134470" y="324530"/>
                  <a:pt x="144236" y="324530"/>
                </a:cubicBezTo>
                <a:close/>
                <a:moveTo>
                  <a:pt x="18030" y="0"/>
                </a:moveTo>
                <a:lnTo>
                  <a:pt x="90148" y="0"/>
                </a:lnTo>
                <a:cubicBezTo>
                  <a:pt x="93153" y="0"/>
                  <a:pt x="95829" y="610"/>
                  <a:pt x="98176" y="1831"/>
                </a:cubicBezTo>
                <a:cubicBezTo>
                  <a:pt x="100524" y="3052"/>
                  <a:pt x="102355" y="4507"/>
                  <a:pt x="103670" y="6198"/>
                </a:cubicBezTo>
                <a:cubicBezTo>
                  <a:pt x="104984" y="7888"/>
                  <a:pt x="106205" y="10189"/>
                  <a:pt x="107332" y="13100"/>
                </a:cubicBezTo>
                <a:cubicBezTo>
                  <a:pt x="108459" y="16010"/>
                  <a:pt x="109210" y="18452"/>
                  <a:pt x="109586" y="20424"/>
                </a:cubicBezTo>
                <a:cubicBezTo>
                  <a:pt x="109961" y="22396"/>
                  <a:pt x="110478" y="25166"/>
                  <a:pt x="111135" y="28734"/>
                </a:cubicBezTo>
                <a:cubicBezTo>
                  <a:pt x="111792" y="32303"/>
                  <a:pt x="112215" y="34744"/>
                  <a:pt x="112403" y="36059"/>
                </a:cubicBezTo>
                <a:lnTo>
                  <a:pt x="450737" y="36059"/>
                </a:lnTo>
                <a:cubicBezTo>
                  <a:pt x="455620" y="36059"/>
                  <a:pt x="459845" y="37843"/>
                  <a:pt x="463414" y="41411"/>
                </a:cubicBezTo>
                <a:cubicBezTo>
                  <a:pt x="466982" y="44980"/>
                  <a:pt x="468766" y="49205"/>
                  <a:pt x="468766" y="54088"/>
                </a:cubicBezTo>
                <a:lnTo>
                  <a:pt x="468766" y="198324"/>
                </a:lnTo>
                <a:cubicBezTo>
                  <a:pt x="468766" y="202831"/>
                  <a:pt x="467217" y="206822"/>
                  <a:pt x="464118" y="210297"/>
                </a:cubicBezTo>
                <a:cubicBezTo>
                  <a:pt x="461019" y="213771"/>
                  <a:pt x="457216" y="215790"/>
                  <a:pt x="452709" y="216353"/>
                </a:cubicBezTo>
                <a:lnTo>
                  <a:pt x="158603" y="250722"/>
                </a:lnTo>
                <a:cubicBezTo>
                  <a:pt x="161045" y="261991"/>
                  <a:pt x="162265" y="268564"/>
                  <a:pt x="162265" y="270442"/>
                </a:cubicBezTo>
                <a:cubicBezTo>
                  <a:pt x="162265" y="273447"/>
                  <a:pt x="160012" y="279457"/>
                  <a:pt x="155504" y="288471"/>
                </a:cubicBezTo>
                <a:lnTo>
                  <a:pt x="414678" y="288471"/>
                </a:lnTo>
                <a:cubicBezTo>
                  <a:pt x="419561" y="288471"/>
                  <a:pt x="423787" y="290255"/>
                  <a:pt x="427355" y="293824"/>
                </a:cubicBezTo>
                <a:cubicBezTo>
                  <a:pt x="430923" y="297392"/>
                  <a:pt x="432707" y="301618"/>
                  <a:pt x="432707" y="306501"/>
                </a:cubicBezTo>
                <a:cubicBezTo>
                  <a:pt x="432707" y="311384"/>
                  <a:pt x="430923" y="315609"/>
                  <a:pt x="427355" y="319178"/>
                </a:cubicBezTo>
                <a:cubicBezTo>
                  <a:pt x="423787" y="322746"/>
                  <a:pt x="419561" y="324530"/>
                  <a:pt x="414678" y="324530"/>
                </a:cubicBezTo>
                <a:lnTo>
                  <a:pt x="396649" y="324530"/>
                </a:lnTo>
                <a:lnTo>
                  <a:pt x="396648" y="324530"/>
                </a:lnTo>
                <a:lnTo>
                  <a:pt x="144236" y="324530"/>
                </a:lnTo>
                <a:lnTo>
                  <a:pt x="126206" y="324530"/>
                </a:lnTo>
                <a:cubicBezTo>
                  <a:pt x="121324" y="324530"/>
                  <a:pt x="117098" y="322746"/>
                  <a:pt x="113530" y="319178"/>
                </a:cubicBezTo>
                <a:cubicBezTo>
                  <a:pt x="109961" y="315609"/>
                  <a:pt x="108177" y="311384"/>
                  <a:pt x="108177" y="306501"/>
                </a:cubicBezTo>
                <a:cubicBezTo>
                  <a:pt x="108177" y="304435"/>
                  <a:pt x="108928" y="301477"/>
                  <a:pt x="110431" y="297627"/>
                </a:cubicBezTo>
                <a:cubicBezTo>
                  <a:pt x="111933" y="293777"/>
                  <a:pt x="113436" y="290397"/>
                  <a:pt x="114938" y="287485"/>
                </a:cubicBezTo>
                <a:cubicBezTo>
                  <a:pt x="116440" y="284574"/>
                  <a:pt x="118459" y="280818"/>
                  <a:pt x="120995" y="276217"/>
                </a:cubicBezTo>
                <a:cubicBezTo>
                  <a:pt x="123530" y="271616"/>
                  <a:pt x="124986" y="268846"/>
                  <a:pt x="125361" y="267907"/>
                </a:cubicBezTo>
                <a:lnTo>
                  <a:pt x="75499" y="36059"/>
                </a:lnTo>
                <a:lnTo>
                  <a:pt x="18030" y="36059"/>
                </a:lnTo>
                <a:cubicBezTo>
                  <a:pt x="13147" y="36059"/>
                  <a:pt x="8921" y="34275"/>
                  <a:pt x="5353" y="30706"/>
                </a:cubicBezTo>
                <a:cubicBezTo>
                  <a:pt x="1784" y="27138"/>
                  <a:pt x="0" y="22912"/>
                  <a:pt x="0" y="18030"/>
                </a:cubicBezTo>
                <a:cubicBezTo>
                  <a:pt x="0" y="13146"/>
                  <a:pt x="1784" y="8921"/>
                  <a:pt x="5353" y="5352"/>
                </a:cubicBezTo>
                <a:cubicBezTo>
                  <a:pt x="8921" y="1784"/>
                  <a:pt x="13147" y="0"/>
                  <a:pt x="1803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350"/>
          </a:p>
        </p:txBody>
      </p:sp>
      <p:sp>
        <p:nvSpPr>
          <p:cNvPr id="62" name="Freeform 528">
            <a:extLst>
              <a:ext uri="{FF2B5EF4-FFF2-40B4-BE49-F238E27FC236}">
                <a16:creationId xmlns:a16="http://schemas.microsoft.com/office/drawing/2014/main" id="{B566A636-8335-E898-7D2D-8F246DB5B42B}"/>
              </a:ext>
            </a:extLst>
          </p:cNvPr>
          <p:cNvSpPr/>
          <p:nvPr/>
        </p:nvSpPr>
        <p:spPr>
          <a:xfrm>
            <a:off x="11040093" y="2911622"/>
            <a:ext cx="296219" cy="378619"/>
          </a:xfrm>
          <a:custGeom>
            <a:avLst/>
            <a:gdLst/>
            <a:ahLst/>
            <a:cxnLst/>
            <a:rect l="l" t="t" r="r" b="b"/>
            <a:pathLst>
              <a:path w="394958" h="504825">
                <a:moveTo>
                  <a:pt x="181141" y="0"/>
                </a:moveTo>
                <a:cubicBezTo>
                  <a:pt x="194851" y="4695"/>
                  <a:pt x="206823" y="10470"/>
                  <a:pt x="217059" y="17325"/>
                </a:cubicBezTo>
                <a:cubicBezTo>
                  <a:pt x="227294" y="24180"/>
                  <a:pt x="235229" y="31364"/>
                  <a:pt x="240863" y="38876"/>
                </a:cubicBezTo>
                <a:cubicBezTo>
                  <a:pt x="246498" y="46388"/>
                  <a:pt x="251005" y="54370"/>
                  <a:pt x="254385" y="62821"/>
                </a:cubicBezTo>
                <a:cubicBezTo>
                  <a:pt x="257767" y="71273"/>
                  <a:pt x="259690" y="79630"/>
                  <a:pt x="260160" y="87894"/>
                </a:cubicBezTo>
                <a:cubicBezTo>
                  <a:pt x="260630" y="96157"/>
                  <a:pt x="260583" y="104186"/>
                  <a:pt x="260020" y="111980"/>
                </a:cubicBezTo>
                <a:cubicBezTo>
                  <a:pt x="259456" y="119774"/>
                  <a:pt x="258235" y="126957"/>
                  <a:pt x="256357" y="133531"/>
                </a:cubicBezTo>
                <a:cubicBezTo>
                  <a:pt x="254479" y="140104"/>
                  <a:pt x="252695" y="145926"/>
                  <a:pt x="251005" y="150997"/>
                </a:cubicBezTo>
                <a:cubicBezTo>
                  <a:pt x="249315" y="156068"/>
                  <a:pt x="247718" y="160012"/>
                  <a:pt x="246216" y="162829"/>
                </a:cubicBezTo>
                <a:lnTo>
                  <a:pt x="244244" y="167054"/>
                </a:lnTo>
                <a:cubicBezTo>
                  <a:pt x="244432" y="167993"/>
                  <a:pt x="244526" y="172735"/>
                  <a:pt x="244526" y="181281"/>
                </a:cubicBezTo>
                <a:cubicBezTo>
                  <a:pt x="244526" y="189826"/>
                  <a:pt x="244432" y="196540"/>
                  <a:pt x="244244" y="201423"/>
                </a:cubicBezTo>
                <a:cubicBezTo>
                  <a:pt x="244807" y="200108"/>
                  <a:pt x="245746" y="198371"/>
                  <a:pt x="247061" y="196211"/>
                </a:cubicBezTo>
                <a:cubicBezTo>
                  <a:pt x="248376" y="194051"/>
                  <a:pt x="251239" y="190014"/>
                  <a:pt x="255653" y="184098"/>
                </a:cubicBezTo>
                <a:cubicBezTo>
                  <a:pt x="260066" y="178182"/>
                  <a:pt x="264809" y="172735"/>
                  <a:pt x="269880" y="167758"/>
                </a:cubicBezTo>
                <a:cubicBezTo>
                  <a:pt x="274950" y="162782"/>
                  <a:pt x="281618" y="157570"/>
                  <a:pt x="289881" y="152124"/>
                </a:cubicBezTo>
                <a:cubicBezTo>
                  <a:pt x="298145" y="146677"/>
                  <a:pt x="306738" y="142499"/>
                  <a:pt x="315657" y="139587"/>
                </a:cubicBezTo>
                <a:cubicBezTo>
                  <a:pt x="324579" y="136677"/>
                  <a:pt x="335095" y="135315"/>
                  <a:pt x="347210" y="135503"/>
                </a:cubicBezTo>
                <a:cubicBezTo>
                  <a:pt x="359323" y="135691"/>
                  <a:pt x="371765" y="137944"/>
                  <a:pt x="384536" y="142264"/>
                </a:cubicBezTo>
                <a:cubicBezTo>
                  <a:pt x="384160" y="156913"/>
                  <a:pt x="382141" y="170200"/>
                  <a:pt x="378478" y="182126"/>
                </a:cubicBezTo>
                <a:cubicBezTo>
                  <a:pt x="374817" y="194051"/>
                  <a:pt x="370122" y="203864"/>
                  <a:pt x="364393" y="211564"/>
                </a:cubicBezTo>
                <a:cubicBezTo>
                  <a:pt x="358666" y="219265"/>
                  <a:pt x="352139" y="225979"/>
                  <a:pt x="344814" y="231707"/>
                </a:cubicBezTo>
                <a:cubicBezTo>
                  <a:pt x="337490" y="237435"/>
                  <a:pt x="329836" y="241708"/>
                  <a:pt x="321855" y="244525"/>
                </a:cubicBezTo>
                <a:cubicBezTo>
                  <a:pt x="313874" y="247342"/>
                  <a:pt x="305939" y="249595"/>
                  <a:pt x="298050" y="251286"/>
                </a:cubicBezTo>
                <a:cubicBezTo>
                  <a:pt x="290163" y="252976"/>
                  <a:pt x="282650" y="253868"/>
                  <a:pt x="275514" y="253962"/>
                </a:cubicBezTo>
                <a:cubicBezTo>
                  <a:pt x="268377" y="254056"/>
                  <a:pt x="262038" y="253962"/>
                  <a:pt x="256498" y="253680"/>
                </a:cubicBezTo>
                <a:cubicBezTo>
                  <a:pt x="250958" y="253399"/>
                  <a:pt x="246592" y="252976"/>
                  <a:pt x="243398" y="252413"/>
                </a:cubicBezTo>
                <a:lnTo>
                  <a:pt x="238610" y="251567"/>
                </a:lnTo>
                <a:cubicBezTo>
                  <a:pt x="234290" y="279175"/>
                  <a:pt x="227435" y="305750"/>
                  <a:pt x="218045" y="331291"/>
                </a:cubicBezTo>
                <a:cubicBezTo>
                  <a:pt x="219172" y="329977"/>
                  <a:pt x="220862" y="328239"/>
                  <a:pt x="223115" y="326080"/>
                </a:cubicBezTo>
                <a:cubicBezTo>
                  <a:pt x="225369" y="323920"/>
                  <a:pt x="230018" y="320070"/>
                  <a:pt x="237060" y="314530"/>
                </a:cubicBezTo>
                <a:cubicBezTo>
                  <a:pt x="244103" y="308990"/>
                  <a:pt x="251380" y="304059"/>
                  <a:pt x="258893" y="299740"/>
                </a:cubicBezTo>
                <a:cubicBezTo>
                  <a:pt x="266405" y="295420"/>
                  <a:pt x="275748" y="291476"/>
                  <a:pt x="286923" y="287908"/>
                </a:cubicBezTo>
                <a:cubicBezTo>
                  <a:pt x="298097" y="284340"/>
                  <a:pt x="309131" y="282462"/>
                  <a:pt x="320023" y="282274"/>
                </a:cubicBezTo>
                <a:cubicBezTo>
                  <a:pt x="330917" y="282086"/>
                  <a:pt x="343031" y="284293"/>
                  <a:pt x="356365" y="288894"/>
                </a:cubicBezTo>
                <a:cubicBezTo>
                  <a:pt x="369699" y="293495"/>
                  <a:pt x="382564" y="300773"/>
                  <a:pt x="394958" y="310727"/>
                </a:cubicBezTo>
                <a:cubicBezTo>
                  <a:pt x="388949" y="325751"/>
                  <a:pt x="381812" y="338710"/>
                  <a:pt x="373549" y="349603"/>
                </a:cubicBezTo>
                <a:cubicBezTo>
                  <a:pt x="365286" y="360495"/>
                  <a:pt x="356740" y="368806"/>
                  <a:pt x="347913" y="374534"/>
                </a:cubicBezTo>
                <a:cubicBezTo>
                  <a:pt x="339086" y="380262"/>
                  <a:pt x="329790" y="384629"/>
                  <a:pt x="320023" y="387633"/>
                </a:cubicBezTo>
                <a:cubicBezTo>
                  <a:pt x="310258" y="390639"/>
                  <a:pt x="300727" y="392000"/>
                  <a:pt x="291430" y="391718"/>
                </a:cubicBezTo>
                <a:cubicBezTo>
                  <a:pt x="282134" y="391437"/>
                  <a:pt x="273072" y="390639"/>
                  <a:pt x="264246" y="389324"/>
                </a:cubicBezTo>
                <a:cubicBezTo>
                  <a:pt x="255419" y="388009"/>
                  <a:pt x="247296" y="385943"/>
                  <a:pt x="239877" y="383126"/>
                </a:cubicBezTo>
                <a:cubicBezTo>
                  <a:pt x="232460" y="380309"/>
                  <a:pt x="225933" y="377727"/>
                  <a:pt x="220299" y="375379"/>
                </a:cubicBezTo>
                <a:cubicBezTo>
                  <a:pt x="214665" y="373031"/>
                  <a:pt x="210345" y="370919"/>
                  <a:pt x="207340" y="369041"/>
                </a:cubicBezTo>
                <a:lnTo>
                  <a:pt x="202551" y="366223"/>
                </a:lnTo>
                <a:cubicBezTo>
                  <a:pt x="181329" y="409043"/>
                  <a:pt x="154143" y="442802"/>
                  <a:pt x="120996" y="467498"/>
                </a:cubicBezTo>
                <a:cubicBezTo>
                  <a:pt x="87848" y="492195"/>
                  <a:pt x="51742" y="504637"/>
                  <a:pt x="12678" y="504825"/>
                </a:cubicBezTo>
                <a:cubicBezTo>
                  <a:pt x="9109" y="504825"/>
                  <a:pt x="6105" y="503604"/>
                  <a:pt x="3663" y="501163"/>
                </a:cubicBezTo>
                <a:cubicBezTo>
                  <a:pt x="1221" y="498721"/>
                  <a:pt x="0" y="495716"/>
                  <a:pt x="0" y="492148"/>
                </a:cubicBezTo>
                <a:cubicBezTo>
                  <a:pt x="0" y="488580"/>
                  <a:pt x="1221" y="485622"/>
                  <a:pt x="3663" y="483274"/>
                </a:cubicBezTo>
                <a:cubicBezTo>
                  <a:pt x="6105" y="480927"/>
                  <a:pt x="9109" y="479753"/>
                  <a:pt x="12678" y="479753"/>
                </a:cubicBezTo>
                <a:cubicBezTo>
                  <a:pt x="45168" y="479565"/>
                  <a:pt x="75452" y="469470"/>
                  <a:pt x="103530" y="449469"/>
                </a:cubicBezTo>
                <a:cubicBezTo>
                  <a:pt x="131607" y="429467"/>
                  <a:pt x="155223" y="401813"/>
                  <a:pt x="174379" y="366505"/>
                </a:cubicBezTo>
                <a:cubicBezTo>
                  <a:pt x="167619" y="369135"/>
                  <a:pt x="160858" y="371294"/>
                  <a:pt x="154096" y="372985"/>
                </a:cubicBezTo>
                <a:cubicBezTo>
                  <a:pt x="147336" y="374675"/>
                  <a:pt x="139541" y="375896"/>
                  <a:pt x="130715" y="376647"/>
                </a:cubicBezTo>
                <a:cubicBezTo>
                  <a:pt x="121888" y="377398"/>
                  <a:pt x="113342" y="377163"/>
                  <a:pt x="105079" y="375942"/>
                </a:cubicBezTo>
                <a:cubicBezTo>
                  <a:pt x="96815" y="374722"/>
                  <a:pt x="88083" y="372045"/>
                  <a:pt x="78880" y="367914"/>
                </a:cubicBezTo>
                <a:cubicBezTo>
                  <a:pt x="69677" y="363782"/>
                  <a:pt x="61039" y="358242"/>
                  <a:pt x="52963" y="351293"/>
                </a:cubicBezTo>
                <a:cubicBezTo>
                  <a:pt x="44887" y="344344"/>
                  <a:pt x="36952" y="334954"/>
                  <a:pt x="29158" y="323122"/>
                </a:cubicBezTo>
                <a:cubicBezTo>
                  <a:pt x="21364" y="311290"/>
                  <a:pt x="14368" y="297580"/>
                  <a:pt x="8172" y="281992"/>
                </a:cubicBezTo>
                <a:cubicBezTo>
                  <a:pt x="29581" y="273165"/>
                  <a:pt x="49676" y="267813"/>
                  <a:pt x="68456" y="265935"/>
                </a:cubicBezTo>
                <a:cubicBezTo>
                  <a:pt x="87238" y="264056"/>
                  <a:pt x="102966" y="264761"/>
                  <a:pt x="115643" y="268047"/>
                </a:cubicBezTo>
                <a:cubicBezTo>
                  <a:pt x="128320" y="271334"/>
                  <a:pt x="140011" y="276640"/>
                  <a:pt x="150716" y="283964"/>
                </a:cubicBezTo>
                <a:cubicBezTo>
                  <a:pt x="161421" y="291289"/>
                  <a:pt x="169732" y="298519"/>
                  <a:pt x="175648" y="305656"/>
                </a:cubicBezTo>
                <a:cubicBezTo>
                  <a:pt x="181564" y="312793"/>
                  <a:pt x="186869" y="320493"/>
                  <a:pt x="191564" y="328756"/>
                </a:cubicBezTo>
                <a:cubicBezTo>
                  <a:pt x="201518" y="304153"/>
                  <a:pt x="208936" y="276827"/>
                  <a:pt x="213819" y="246778"/>
                </a:cubicBezTo>
                <a:cubicBezTo>
                  <a:pt x="212505" y="246966"/>
                  <a:pt x="210814" y="247201"/>
                  <a:pt x="208748" y="247483"/>
                </a:cubicBezTo>
                <a:cubicBezTo>
                  <a:pt x="206683" y="247764"/>
                  <a:pt x="202316" y="247999"/>
                  <a:pt x="195649" y="248187"/>
                </a:cubicBezTo>
                <a:cubicBezTo>
                  <a:pt x="188982" y="248375"/>
                  <a:pt x="182456" y="248328"/>
                  <a:pt x="176070" y="248046"/>
                </a:cubicBezTo>
                <a:cubicBezTo>
                  <a:pt x="169685" y="247764"/>
                  <a:pt x="162031" y="246825"/>
                  <a:pt x="153110" y="245229"/>
                </a:cubicBezTo>
                <a:cubicBezTo>
                  <a:pt x="144190" y="243633"/>
                  <a:pt x="135879" y="241473"/>
                  <a:pt x="128179" y="238750"/>
                </a:cubicBezTo>
                <a:cubicBezTo>
                  <a:pt x="120479" y="236026"/>
                  <a:pt x="112591" y="232035"/>
                  <a:pt x="104516" y="226777"/>
                </a:cubicBezTo>
                <a:cubicBezTo>
                  <a:pt x="96440" y="221518"/>
                  <a:pt x="89396" y="215415"/>
                  <a:pt x="83387" y="208466"/>
                </a:cubicBezTo>
                <a:cubicBezTo>
                  <a:pt x="77378" y="201517"/>
                  <a:pt x="72260" y="192643"/>
                  <a:pt x="68034" y="181844"/>
                </a:cubicBezTo>
                <a:cubicBezTo>
                  <a:pt x="63808" y="171045"/>
                  <a:pt x="61133" y="159073"/>
                  <a:pt x="60005" y="145926"/>
                </a:cubicBezTo>
                <a:cubicBezTo>
                  <a:pt x="73152" y="140667"/>
                  <a:pt x="85687" y="137240"/>
                  <a:pt x="97614" y="135644"/>
                </a:cubicBezTo>
                <a:cubicBezTo>
                  <a:pt x="109539" y="134047"/>
                  <a:pt x="120103" y="134141"/>
                  <a:pt x="129306" y="135925"/>
                </a:cubicBezTo>
                <a:cubicBezTo>
                  <a:pt x="138509" y="137709"/>
                  <a:pt x="147148" y="140526"/>
                  <a:pt x="155223" y="144377"/>
                </a:cubicBezTo>
                <a:cubicBezTo>
                  <a:pt x="163299" y="148227"/>
                  <a:pt x="170201" y="152922"/>
                  <a:pt x="175929" y="158462"/>
                </a:cubicBezTo>
                <a:cubicBezTo>
                  <a:pt x="181657" y="164003"/>
                  <a:pt x="186916" y="169731"/>
                  <a:pt x="191704" y="175647"/>
                </a:cubicBezTo>
                <a:cubicBezTo>
                  <a:pt x="196494" y="181563"/>
                  <a:pt x="200438" y="187478"/>
                  <a:pt x="203537" y="193394"/>
                </a:cubicBezTo>
                <a:cubicBezTo>
                  <a:pt x="206635" y="199310"/>
                  <a:pt x="209218" y="204569"/>
                  <a:pt x="211284" y="209170"/>
                </a:cubicBezTo>
                <a:cubicBezTo>
                  <a:pt x="213350" y="213771"/>
                  <a:pt x="214851" y="217480"/>
                  <a:pt x="215791" y="220297"/>
                </a:cubicBezTo>
                <a:lnTo>
                  <a:pt x="216917" y="224805"/>
                </a:lnTo>
                <a:cubicBezTo>
                  <a:pt x="219172" y="201892"/>
                  <a:pt x="220299" y="183581"/>
                  <a:pt x="220299" y="169871"/>
                </a:cubicBezTo>
                <a:cubicBezTo>
                  <a:pt x="218796" y="168745"/>
                  <a:pt x="216777" y="167242"/>
                  <a:pt x="214241" y="165364"/>
                </a:cubicBezTo>
                <a:cubicBezTo>
                  <a:pt x="211706" y="163486"/>
                  <a:pt x="207105" y="159307"/>
                  <a:pt x="200438" y="152828"/>
                </a:cubicBezTo>
                <a:cubicBezTo>
                  <a:pt x="193770" y="146349"/>
                  <a:pt x="187808" y="139634"/>
                  <a:pt x="182550" y="132686"/>
                </a:cubicBezTo>
                <a:cubicBezTo>
                  <a:pt x="177291" y="125737"/>
                  <a:pt x="172220" y="117004"/>
                  <a:pt x="167337" y="106487"/>
                </a:cubicBezTo>
                <a:cubicBezTo>
                  <a:pt x="162454" y="95969"/>
                  <a:pt x="159356" y="85405"/>
                  <a:pt x="158041" y="74794"/>
                </a:cubicBezTo>
                <a:cubicBezTo>
                  <a:pt x="156725" y="64183"/>
                  <a:pt x="157853" y="52257"/>
                  <a:pt x="161421" y="39017"/>
                </a:cubicBezTo>
                <a:cubicBezTo>
                  <a:pt x="164990" y="25777"/>
                  <a:pt x="171563" y="12771"/>
                  <a:pt x="18114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3" name="Freeform 322">
            <a:extLst>
              <a:ext uri="{FF2B5EF4-FFF2-40B4-BE49-F238E27FC236}">
                <a16:creationId xmlns:a16="http://schemas.microsoft.com/office/drawing/2014/main" id="{A50C3087-A725-8227-4183-E7A71A18CD90}"/>
              </a:ext>
            </a:extLst>
          </p:cNvPr>
          <p:cNvSpPr/>
          <p:nvPr/>
        </p:nvSpPr>
        <p:spPr>
          <a:xfrm>
            <a:off x="9887551" y="2949973"/>
            <a:ext cx="297486" cy="297486"/>
          </a:xfrm>
          <a:custGeom>
            <a:avLst/>
            <a:gdLst/>
            <a:ahLst/>
            <a:cxnLst/>
            <a:rect l="l" t="t" r="r" b="b"/>
            <a:pathLst>
              <a:path w="396648" h="396648">
                <a:moveTo>
                  <a:pt x="83386" y="0"/>
                </a:moveTo>
                <a:cubicBezTo>
                  <a:pt x="86016" y="0"/>
                  <a:pt x="87988" y="282"/>
                  <a:pt x="89302" y="845"/>
                </a:cubicBezTo>
                <a:cubicBezTo>
                  <a:pt x="92683" y="1972"/>
                  <a:pt x="97660" y="9109"/>
                  <a:pt x="104233" y="22255"/>
                </a:cubicBezTo>
                <a:cubicBezTo>
                  <a:pt x="106299" y="25823"/>
                  <a:pt x="109116" y="30894"/>
                  <a:pt x="112684" y="37467"/>
                </a:cubicBezTo>
                <a:cubicBezTo>
                  <a:pt x="116253" y="44041"/>
                  <a:pt x="119539" y="50004"/>
                  <a:pt x="122544" y="55356"/>
                </a:cubicBezTo>
                <a:cubicBezTo>
                  <a:pt x="125549" y="60709"/>
                  <a:pt x="128460" y="65732"/>
                  <a:pt x="131277" y="70428"/>
                </a:cubicBezTo>
                <a:cubicBezTo>
                  <a:pt x="131840" y="71179"/>
                  <a:pt x="133484" y="73526"/>
                  <a:pt x="136207" y="77470"/>
                </a:cubicBezTo>
                <a:cubicBezTo>
                  <a:pt x="138930" y="81414"/>
                  <a:pt x="140949" y="84748"/>
                  <a:pt x="142263" y="87471"/>
                </a:cubicBezTo>
                <a:cubicBezTo>
                  <a:pt x="143578" y="90194"/>
                  <a:pt x="144235" y="92870"/>
                  <a:pt x="144235" y="95500"/>
                </a:cubicBezTo>
                <a:cubicBezTo>
                  <a:pt x="144235" y="99256"/>
                  <a:pt x="141559" y="103951"/>
                  <a:pt x="136207" y="109585"/>
                </a:cubicBezTo>
                <a:cubicBezTo>
                  <a:pt x="130854" y="115220"/>
                  <a:pt x="125033" y="120384"/>
                  <a:pt x="118741" y="125079"/>
                </a:cubicBezTo>
                <a:cubicBezTo>
                  <a:pt x="112450" y="129775"/>
                  <a:pt x="106627" y="134751"/>
                  <a:pt x="101275" y="140010"/>
                </a:cubicBezTo>
                <a:cubicBezTo>
                  <a:pt x="95922" y="145269"/>
                  <a:pt x="93246" y="149588"/>
                  <a:pt x="93246" y="152969"/>
                </a:cubicBezTo>
                <a:cubicBezTo>
                  <a:pt x="93246" y="154659"/>
                  <a:pt x="93716" y="156772"/>
                  <a:pt x="94655" y="159307"/>
                </a:cubicBezTo>
                <a:cubicBezTo>
                  <a:pt x="95594" y="161843"/>
                  <a:pt x="96392" y="163768"/>
                  <a:pt x="97049" y="165082"/>
                </a:cubicBezTo>
                <a:cubicBezTo>
                  <a:pt x="97707" y="166397"/>
                  <a:pt x="99021" y="168651"/>
                  <a:pt x="100993" y="171843"/>
                </a:cubicBezTo>
                <a:cubicBezTo>
                  <a:pt x="102965" y="175036"/>
                  <a:pt x="104045" y="176820"/>
                  <a:pt x="104233" y="177196"/>
                </a:cubicBezTo>
                <a:cubicBezTo>
                  <a:pt x="118506" y="202925"/>
                  <a:pt x="134845" y="224993"/>
                  <a:pt x="153251" y="243398"/>
                </a:cubicBezTo>
                <a:cubicBezTo>
                  <a:pt x="171656" y="261803"/>
                  <a:pt x="193723" y="278142"/>
                  <a:pt x="219452" y="292415"/>
                </a:cubicBezTo>
                <a:cubicBezTo>
                  <a:pt x="219828" y="292603"/>
                  <a:pt x="221612" y="293683"/>
                  <a:pt x="224805" y="295655"/>
                </a:cubicBezTo>
                <a:cubicBezTo>
                  <a:pt x="227998" y="297627"/>
                  <a:pt x="230251" y="298942"/>
                  <a:pt x="231566" y="299599"/>
                </a:cubicBezTo>
                <a:cubicBezTo>
                  <a:pt x="232881" y="300256"/>
                  <a:pt x="234805" y="301054"/>
                  <a:pt x="237341" y="301994"/>
                </a:cubicBezTo>
                <a:cubicBezTo>
                  <a:pt x="239876" y="302933"/>
                  <a:pt x="241989" y="303402"/>
                  <a:pt x="243679" y="303402"/>
                </a:cubicBezTo>
                <a:cubicBezTo>
                  <a:pt x="247060" y="303402"/>
                  <a:pt x="251379" y="300726"/>
                  <a:pt x="256638" y="295373"/>
                </a:cubicBezTo>
                <a:cubicBezTo>
                  <a:pt x="261897" y="290021"/>
                  <a:pt x="266874" y="284199"/>
                  <a:pt x="271569" y="277907"/>
                </a:cubicBezTo>
                <a:cubicBezTo>
                  <a:pt x="276264" y="271616"/>
                  <a:pt x="281429" y="265794"/>
                  <a:pt x="287063" y="260441"/>
                </a:cubicBezTo>
                <a:cubicBezTo>
                  <a:pt x="292697" y="255089"/>
                  <a:pt x="297392" y="252412"/>
                  <a:pt x="301148" y="252412"/>
                </a:cubicBezTo>
                <a:cubicBezTo>
                  <a:pt x="303778" y="252412"/>
                  <a:pt x="306454" y="253070"/>
                  <a:pt x="309177" y="254384"/>
                </a:cubicBezTo>
                <a:cubicBezTo>
                  <a:pt x="311901" y="255699"/>
                  <a:pt x="315234" y="257718"/>
                  <a:pt x="319178" y="260441"/>
                </a:cubicBezTo>
                <a:cubicBezTo>
                  <a:pt x="323122" y="263164"/>
                  <a:pt x="325470" y="264808"/>
                  <a:pt x="326220" y="265371"/>
                </a:cubicBezTo>
                <a:cubicBezTo>
                  <a:pt x="330916" y="268188"/>
                  <a:pt x="335939" y="271099"/>
                  <a:pt x="341292" y="274104"/>
                </a:cubicBezTo>
                <a:cubicBezTo>
                  <a:pt x="346645" y="277109"/>
                  <a:pt x="352608" y="280396"/>
                  <a:pt x="359180" y="283964"/>
                </a:cubicBezTo>
                <a:cubicBezTo>
                  <a:pt x="365754" y="287532"/>
                  <a:pt x="370825" y="290349"/>
                  <a:pt x="374393" y="292415"/>
                </a:cubicBezTo>
                <a:cubicBezTo>
                  <a:pt x="387540" y="298989"/>
                  <a:pt x="394676" y="303966"/>
                  <a:pt x="395803" y="307346"/>
                </a:cubicBezTo>
                <a:cubicBezTo>
                  <a:pt x="396367" y="308661"/>
                  <a:pt x="396648" y="310633"/>
                  <a:pt x="396648" y="313262"/>
                </a:cubicBezTo>
                <a:cubicBezTo>
                  <a:pt x="396648" y="318333"/>
                  <a:pt x="395710" y="324953"/>
                  <a:pt x="393831" y="333123"/>
                </a:cubicBezTo>
                <a:cubicBezTo>
                  <a:pt x="391953" y="341292"/>
                  <a:pt x="389981" y="347724"/>
                  <a:pt x="387915" y="352420"/>
                </a:cubicBezTo>
                <a:cubicBezTo>
                  <a:pt x="383971" y="361810"/>
                  <a:pt x="372515" y="371764"/>
                  <a:pt x="353546" y="382281"/>
                </a:cubicBezTo>
                <a:cubicBezTo>
                  <a:pt x="335893" y="391859"/>
                  <a:pt x="318427" y="396648"/>
                  <a:pt x="301148" y="396648"/>
                </a:cubicBezTo>
                <a:cubicBezTo>
                  <a:pt x="296077" y="396648"/>
                  <a:pt x="291147" y="396320"/>
                  <a:pt x="286359" y="395662"/>
                </a:cubicBezTo>
                <a:cubicBezTo>
                  <a:pt x="281569" y="395005"/>
                  <a:pt x="276170" y="393831"/>
                  <a:pt x="270160" y="392141"/>
                </a:cubicBezTo>
                <a:cubicBezTo>
                  <a:pt x="264151" y="390451"/>
                  <a:pt x="259690" y="389089"/>
                  <a:pt x="256779" y="388056"/>
                </a:cubicBezTo>
                <a:cubicBezTo>
                  <a:pt x="253868" y="387023"/>
                  <a:pt x="248656" y="385098"/>
                  <a:pt x="241144" y="382281"/>
                </a:cubicBezTo>
                <a:cubicBezTo>
                  <a:pt x="233632" y="379464"/>
                  <a:pt x="229030" y="377774"/>
                  <a:pt x="227340" y="377210"/>
                </a:cubicBezTo>
                <a:cubicBezTo>
                  <a:pt x="208936" y="370637"/>
                  <a:pt x="192502" y="362843"/>
                  <a:pt x="178041" y="353828"/>
                </a:cubicBezTo>
                <a:cubicBezTo>
                  <a:pt x="154002" y="338991"/>
                  <a:pt x="129164" y="318755"/>
                  <a:pt x="103529" y="293120"/>
                </a:cubicBezTo>
                <a:cubicBezTo>
                  <a:pt x="77893" y="267484"/>
                  <a:pt x="57657" y="242646"/>
                  <a:pt x="42820" y="218607"/>
                </a:cubicBezTo>
                <a:cubicBezTo>
                  <a:pt x="33805" y="204146"/>
                  <a:pt x="26011" y="187713"/>
                  <a:pt x="19438" y="169308"/>
                </a:cubicBezTo>
                <a:cubicBezTo>
                  <a:pt x="18874" y="167618"/>
                  <a:pt x="17184" y="163016"/>
                  <a:pt x="14367" y="155504"/>
                </a:cubicBezTo>
                <a:cubicBezTo>
                  <a:pt x="11550" y="147992"/>
                  <a:pt x="9625" y="142780"/>
                  <a:pt x="8592" y="139869"/>
                </a:cubicBezTo>
                <a:cubicBezTo>
                  <a:pt x="7559" y="136958"/>
                  <a:pt x="6197" y="132498"/>
                  <a:pt x="4507" y="126488"/>
                </a:cubicBezTo>
                <a:cubicBezTo>
                  <a:pt x="2817" y="120478"/>
                  <a:pt x="1644" y="115079"/>
                  <a:pt x="986" y="110290"/>
                </a:cubicBezTo>
                <a:cubicBezTo>
                  <a:pt x="329" y="105500"/>
                  <a:pt x="0" y="100571"/>
                  <a:pt x="0" y="95500"/>
                </a:cubicBezTo>
                <a:cubicBezTo>
                  <a:pt x="0" y="78222"/>
                  <a:pt x="4789" y="60755"/>
                  <a:pt x="14367" y="43102"/>
                </a:cubicBezTo>
                <a:cubicBezTo>
                  <a:pt x="24885" y="24133"/>
                  <a:pt x="34839" y="12677"/>
                  <a:pt x="44228" y="8733"/>
                </a:cubicBezTo>
                <a:cubicBezTo>
                  <a:pt x="48924" y="6667"/>
                  <a:pt x="55356" y="4695"/>
                  <a:pt x="63526" y="2817"/>
                </a:cubicBezTo>
                <a:cubicBezTo>
                  <a:pt x="71695" y="939"/>
                  <a:pt x="78316" y="0"/>
                  <a:pt x="8338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4" name="Текстово поле 9">
            <a:extLst>
              <a:ext uri="{FF2B5EF4-FFF2-40B4-BE49-F238E27FC236}">
                <a16:creationId xmlns:a16="http://schemas.microsoft.com/office/drawing/2014/main" id="{6A4C111C-C7AE-CF75-D579-655EA5C8F203}"/>
              </a:ext>
            </a:extLst>
          </p:cNvPr>
          <p:cNvSpPr txBox="1"/>
          <p:nvPr/>
        </p:nvSpPr>
        <p:spPr>
          <a:xfrm>
            <a:off x="9524629" y="1379361"/>
            <a:ext cx="957175" cy="430887"/>
          </a:xfrm>
          <a:prstGeom prst="rect">
            <a:avLst/>
          </a:prstGeom>
          <a:noFill/>
        </p:spPr>
        <p:txBody>
          <a:bodyPr wrap="square" rtlCol="0">
            <a:spAutoFit/>
          </a:bodyPr>
          <a:lstStyle/>
          <a:p>
            <a:pPr algn="ctr"/>
            <a:r>
              <a:rPr lang="en-US" sz="1100" dirty="0"/>
              <a:t>T</a:t>
            </a:r>
            <a:r>
              <a:rPr lang="bg-BG" sz="1100" dirty="0" err="1"/>
              <a:t>ърговия</a:t>
            </a:r>
            <a:endParaRPr lang="bg-BG" sz="1100" dirty="0"/>
          </a:p>
          <a:p>
            <a:pPr algn="ctr"/>
            <a:r>
              <a:rPr lang="bg-BG" sz="1100" dirty="0"/>
              <a:t>23.8</a:t>
            </a:r>
          </a:p>
        </p:txBody>
      </p:sp>
      <p:sp>
        <p:nvSpPr>
          <p:cNvPr id="65" name="Текстово поле 12">
            <a:extLst>
              <a:ext uri="{FF2B5EF4-FFF2-40B4-BE49-F238E27FC236}">
                <a16:creationId xmlns:a16="http://schemas.microsoft.com/office/drawing/2014/main" id="{21268828-8DE3-A139-4DB3-A12144022F18}"/>
              </a:ext>
            </a:extLst>
          </p:cNvPr>
          <p:cNvSpPr txBox="1"/>
          <p:nvPr/>
        </p:nvSpPr>
        <p:spPr>
          <a:xfrm>
            <a:off x="10709614" y="2327011"/>
            <a:ext cx="957175" cy="600164"/>
          </a:xfrm>
          <a:prstGeom prst="rect">
            <a:avLst/>
          </a:prstGeom>
          <a:noFill/>
        </p:spPr>
        <p:txBody>
          <a:bodyPr wrap="square" rtlCol="0">
            <a:spAutoFit/>
          </a:bodyPr>
          <a:lstStyle/>
          <a:p>
            <a:pPr algn="ctr"/>
            <a:r>
              <a:rPr lang="bg-BG" sz="1100" dirty="0"/>
              <a:t>Селско стопанство</a:t>
            </a:r>
          </a:p>
          <a:p>
            <a:pPr algn="ctr"/>
            <a:r>
              <a:rPr lang="bg-BG" sz="1100" dirty="0"/>
              <a:t>2.6</a:t>
            </a:r>
          </a:p>
        </p:txBody>
      </p:sp>
      <p:sp>
        <p:nvSpPr>
          <p:cNvPr id="66" name="Текстово поле 11">
            <a:extLst>
              <a:ext uri="{FF2B5EF4-FFF2-40B4-BE49-F238E27FC236}">
                <a16:creationId xmlns:a16="http://schemas.microsoft.com/office/drawing/2014/main" id="{6009E5D1-525B-F163-83C3-5331F3330488}"/>
              </a:ext>
            </a:extLst>
          </p:cNvPr>
          <p:cNvSpPr txBox="1"/>
          <p:nvPr/>
        </p:nvSpPr>
        <p:spPr>
          <a:xfrm>
            <a:off x="9512487" y="2327011"/>
            <a:ext cx="957175" cy="430887"/>
          </a:xfrm>
          <a:prstGeom prst="rect">
            <a:avLst/>
          </a:prstGeom>
          <a:noFill/>
        </p:spPr>
        <p:txBody>
          <a:bodyPr wrap="square" rtlCol="0">
            <a:spAutoFit/>
          </a:bodyPr>
          <a:lstStyle/>
          <a:p>
            <a:pPr algn="ctr"/>
            <a:r>
              <a:rPr lang="bg-BG" sz="1100" dirty="0"/>
              <a:t>Услуги</a:t>
            </a:r>
          </a:p>
          <a:p>
            <a:pPr algn="ctr"/>
            <a:r>
              <a:rPr lang="bg-BG" sz="1100" dirty="0"/>
              <a:t>57.1</a:t>
            </a:r>
          </a:p>
        </p:txBody>
      </p:sp>
    </p:spTree>
    <p:extLst>
      <p:ext uri="{BB962C8B-B14F-4D97-AF65-F5344CB8AC3E}">
        <p14:creationId xmlns:p14="http://schemas.microsoft.com/office/powerpoint/2010/main" val="3622775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a:extLst>
              <a:ext uri="{FF2B5EF4-FFF2-40B4-BE49-F238E27FC236}">
                <a16:creationId xmlns:a16="http://schemas.microsoft.com/office/drawing/2014/main" id="{7755C759-F588-5538-79B2-8A4C1C02C4A3}"/>
              </a:ext>
            </a:extLst>
          </p:cNvPr>
          <p:cNvSpPr>
            <a:spLocks noGrp="1"/>
          </p:cNvSpPr>
          <p:nvPr>
            <p:ph type="title"/>
          </p:nvPr>
        </p:nvSpPr>
        <p:spPr/>
        <p:txBody>
          <a:bodyPr/>
          <a:lstStyle/>
          <a:p>
            <a:r>
              <a:rPr lang="bg-BG" dirty="0"/>
              <a:t>ОСНОВНИ ИЗВОДИ</a:t>
            </a:r>
          </a:p>
        </p:txBody>
      </p:sp>
    </p:spTree>
    <p:extLst>
      <p:ext uri="{BB962C8B-B14F-4D97-AF65-F5344CB8AC3E}">
        <p14:creationId xmlns:p14="http://schemas.microsoft.com/office/powerpoint/2010/main" val="2134613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Контейнер за номер на слайда 2">
            <a:extLst>
              <a:ext uri="{FF2B5EF4-FFF2-40B4-BE49-F238E27FC236}">
                <a16:creationId xmlns:a16="http://schemas.microsoft.com/office/drawing/2014/main" id="{532F9188-49B4-79B9-206B-1E18E605784B}"/>
              </a:ext>
            </a:extLst>
          </p:cNvPr>
          <p:cNvSpPr>
            <a:spLocks noGrp="1"/>
          </p:cNvSpPr>
          <p:nvPr>
            <p:ph type="sldNum" sz="quarter" idx="4"/>
          </p:nvPr>
        </p:nvSpPr>
        <p:spPr/>
        <p:txBody>
          <a:bodyPr/>
          <a:lstStyle/>
          <a:p>
            <a:fld id="{DE3AA45F-980D-4F34-ABAD-1E35E3E654A8}" type="slidenum">
              <a:rPr lang="bg-BG" smtClean="0"/>
              <a:pPr/>
              <a:t>5</a:t>
            </a:fld>
            <a:endParaRPr lang="bg-BG" dirty="0"/>
          </a:p>
        </p:txBody>
      </p:sp>
      <p:sp>
        <p:nvSpPr>
          <p:cNvPr id="6" name="Текстово поле 5">
            <a:extLst>
              <a:ext uri="{FF2B5EF4-FFF2-40B4-BE49-F238E27FC236}">
                <a16:creationId xmlns:a16="http://schemas.microsoft.com/office/drawing/2014/main" id="{6BFF38CF-63E5-EBB4-F65F-6470970B53FF}"/>
              </a:ext>
            </a:extLst>
          </p:cNvPr>
          <p:cNvSpPr txBox="1"/>
          <p:nvPr/>
        </p:nvSpPr>
        <p:spPr>
          <a:xfrm>
            <a:off x="2246559" y="636887"/>
            <a:ext cx="9586786" cy="8227893"/>
          </a:xfrm>
          <a:prstGeom prst="rect">
            <a:avLst/>
          </a:prstGeom>
          <a:noFill/>
        </p:spPr>
        <p:txBody>
          <a:bodyPr wrap="square">
            <a:spAutoFit/>
          </a:bodyPr>
          <a:lstStyle/>
          <a:p>
            <a:pPr algn="just">
              <a:spcAft>
                <a:spcPts val="800"/>
              </a:spcAft>
            </a:pPr>
            <a:r>
              <a:rPr lang="bg-BG" sz="1400" dirty="0">
                <a:effectLst/>
                <a:ea typeface="Calibri" panose="020F0502020204030204" pitchFamily="34" charset="0"/>
                <a:cs typeface="Times New Roman" panose="02020603050405020304" pitchFamily="18" charset="0"/>
              </a:rPr>
              <a:t>Националното представително проучване на агенция Алфа Рисърч показва, че в българското общество </a:t>
            </a:r>
            <a:r>
              <a:rPr lang="bg-BG" sz="1400" dirty="0">
                <a:ea typeface="Calibri" panose="020F0502020204030204" pitchFamily="34" charset="0"/>
                <a:cs typeface="Times New Roman" panose="02020603050405020304" pitchFamily="18" charset="0"/>
              </a:rPr>
              <a:t>са</a:t>
            </a:r>
            <a:r>
              <a:rPr lang="bg-BG" sz="1400" dirty="0">
                <a:effectLst/>
                <a:ea typeface="Calibri" panose="020F0502020204030204" pitchFamily="34" charset="0"/>
                <a:cs typeface="Times New Roman" panose="02020603050405020304" pitchFamily="18" charset="0"/>
              </a:rPr>
              <a:t> налице значителна доза притеснения и страхове от присъединяването на страната ни към еврозоната. Тези опасения водят до поляризирано отношение към въвеждането на еврото. Една трета от пълнолетните граждани (от които 15% - </a:t>
            </a:r>
            <a:r>
              <a:rPr lang="bg-BG" sz="1400" i="1" dirty="0">
                <a:effectLst/>
                <a:ea typeface="Calibri" panose="020F0502020204030204" pitchFamily="34" charset="0"/>
                <a:cs typeface="Times New Roman" panose="02020603050405020304" pitchFamily="18" charset="0"/>
              </a:rPr>
              <a:t>категорично</a:t>
            </a:r>
            <a:r>
              <a:rPr lang="bg-BG" sz="1400" dirty="0">
                <a:effectLst/>
                <a:ea typeface="Calibri" panose="020F0502020204030204" pitchFamily="34" charset="0"/>
                <a:cs typeface="Times New Roman" panose="02020603050405020304" pitchFamily="18" charset="0"/>
              </a:rPr>
              <a:t>, а 18% - </a:t>
            </a:r>
            <a:r>
              <a:rPr lang="bg-BG" sz="1400" i="1" dirty="0">
                <a:effectLst/>
                <a:ea typeface="Calibri" panose="020F0502020204030204" pitchFamily="34" charset="0"/>
                <a:cs typeface="Times New Roman" panose="02020603050405020304" pitchFamily="18" charset="0"/>
              </a:rPr>
              <a:t>по-скоро</a:t>
            </a:r>
            <a:r>
              <a:rPr lang="bg-BG" sz="1400" dirty="0">
                <a:effectLst/>
                <a:ea typeface="Calibri" panose="020F0502020204030204" pitchFamily="34" charset="0"/>
                <a:cs typeface="Times New Roman" panose="02020603050405020304" pitchFamily="18" charset="0"/>
              </a:rPr>
              <a:t>) одобряват преминаването към единната европейска валута. На противоположната позиция е всеки втори – 23% изразяват по-скоро неодобрение, а  27%  - са изцяло против. </a:t>
            </a:r>
          </a:p>
          <a:p>
            <a:pPr algn="just">
              <a:spcAft>
                <a:spcPts val="800"/>
              </a:spcAft>
            </a:pPr>
            <a:r>
              <a:rPr lang="bg-BG" sz="1400" dirty="0">
                <a:ea typeface="Calibri" panose="020F0502020204030204" pitchFamily="34" charset="0"/>
                <a:cs typeface="Times New Roman" panose="02020603050405020304" pitchFamily="18" charset="0"/>
              </a:rPr>
              <a:t>За разлика от широката общественост, нагласите сред бизнеса са много по-позитивни. </a:t>
            </a:r>
            <a:r>
              <a:rPr lang="bg-BG" sz="1400" dirty="0">
                <a:effectLst/>
                <a:ea typeface="Calibri" panose="020F0502020204030204" pitchFamily="34" charset="0"/>
                <a:cs typeface="Times New Roman" panose="02020603050405020304" pitchFamily="18" charset="0"/>
              </a:rPr>
              <a:t>Две трети от него  (47% </a:t>
            </a:r>
            <a:r>
              <a:rPr lang="bg-BG" sz="1400" i="1" dirty="0">
                <a:effectLst/>
                <a:ea typeface="Calibri" panose="020F0502020204030204" pitchFamily="34" charset="0"/>
                <a:cs typeface="Times New Roman" panose="02020603050405020304" pitchFamily="18" charset="0"/>
              </a:rPr>
              <a:t>напълно</a:t>
            </a:r>
            <a:r>
              <a:rPr lang="bg-BG" sz="1400" dirty="0">
                <a:effectLst/>
                <a:ea typeface="Calibri" panose="020F0502020204030204" pitchFamily="34" charset="0"/>
                <a:cs typeface="Times New Roman" panose="02020603050405020304" pitchFamily="18" charset="0"/>
              </a:rPr>
              <a:t> и 18% </a:t>
            </a:r>
            <a:r>
              <a:rPr lang="bg-BG" sz="1400" i="1" dirty="0">
                <a:effectLst/>
                <a:ea typeface="Calibri" panose="020F0502020204030204" pitchFamily="34" charset="0"/>
                <a:cs typeface="Times New Roman" panose="02020603050405020304" pitchFamily="18" charset="0"/>
              </a:rPr>
              <a:t>по-скоро</a:t>
            </a:r>
            <a:r>
              <a:rPr lang="bg-BG" sz="1400" dirty="0">
                <a:effectLst/>
                <a:ea typeface="Calibri" panose="020F0502020204030204" pitchFamily="34" charset="0"/>
                <a:cs typeface="Times New Roman" panose="02020603050405020304" pitchFamily="18" charset="0"/>
              </a:rPr>
              <a:t>) одобряват присъединяването на страната към еврозоната. </a:t>
            </a:r>
            <a:r>
              <a:rPr lang="bg-BG" sz="1400" dirty="0">
                <a:ea typeface="Calibri" panose="020F0502020204030204" pitchFamily="34" charset="0"/>
                <a:cs typeface="Times New Roman" panose="02020603050405020304" pitchFamily="18" charset="0"/>
              </a:rPr>
              <a:t>Очакванията на предприемачите за ефектите от въвеждането на еврото кореспондират с тези нагласи – 59% очакват позитивен ефект върху икономиката на страната, а 61% - върху собствената им фирма. От два до три пъти по-ниски са песимистичните нагласи. 28% са скептични за последствията върху националната икономика, а 18% - за ефектите върху компанията им. </a:t>
            </a:r>
            <a:r>
              <a:rPr lang="bg-BG" sz="1400" dirty="0">
                <a:effectLst/>
                <a:ea typeface="Calibri" panose="020F0502020204030204" pitchFamily="34" charset="0"/>
                <a:cs typeface="Times New Roman" panose="02020603050405020304" pitchFamily="18" charset="0"/>
              </a:rPr>
              <a:t>Според бизнеса от помощ и подкрепа ще се нуждаят преди всичко техните счетоводни отдели, адаптирането на касовите разплащания (фискални устройства), обучения на служителите при директна работа с клиенти.</a:t>
            </a:r>
          </a:p>
          <a:p>
            <a:pPr algn="just">
              <a:spcAft>
                <a:spcPts val="800"/>
              </a:spcAft>
            </a:pPr>
            <a:r>
              <a:rPr lang="bg-BG" sz="1400" dirty="0">
                <a:ea typeface="Calibri" panose="020F0502020204030204" pitchFamily="34" charset="0"/>
                <a:cs typeface="Times New Roman" panose="02020603050405020304" pitchFamily="18" charset="0"/>
              </a:rPr>
              <a:t>Въпреки съществуващите притеснения, една значителна част от сънародниците ни виждат редица позитивни ефекти от въвеждането на еврото. 59%  очакват по-лесно и удобно разплащане при пътуване в чужбина, което съвсем не е без значение предвид ръста в мобилността на българските граждани. 37% разчитат на увеличаване на търговията ни с други държави. По-голямата финансова предвидимост и достъпът до по-евтин кредитен ресурс остават непознати, или не достатъчно ясни ефекти от присъединяването ни към еврото – затова се оценяват като значими едва от около една пета от българските граждани. За разлика от тях, две трети от предприемачите очакват улесняване на търговията ни с други държави, почти всеки втори разчита на по-голяма стабилност и предвидимост на банковия сектор, както и на по-евтин кредитен ресурс, които са важни предпоставки за развитието на бизнеса. </a:t>
            </a:r>
          </a:p>
          <a:p>
            <a:pPr algn="just">
              <a:spcAft>
                <a:spcPts val="800"/>
              </a:spcAft>
            </a:pPr>
            <a:r>
              <a:rPr lang="bg-BG" sz="1400" dirty="0">
                <a:effectLst/>
                <a:ea typeface="Calibri" panose="020F0502020204030204" pitchFamily="34" charset="0"/>
                <a:cs typeface="Times New Roman" panose="02020603050405020304" pitchFamily="18" charset="0"/>
              </a:rPr>
              <a:t>Най-широко разпространените страхове сред анкетираните в националното проучване са свързани с опасенията от ръст в цените на стоките (69%), риск от измами, спекула, изкуствено повишаване на цените от страна на некоректни търговци (57%), увеличаване на инфлацията (55%). </a:t>
            </a:r>
          </a:p>
          <a:p>
            <a:pPr algn="just">
              <a:spcAft>
                <a:spcPts val="800"/>
              </a:spcAft>
            </a:pPr>
            <a:r>
              <a:rPr lang="bg-BG" sz="1400" dirty="0">
                <a:ea typeface="Calibri" panose="020F0502020204030204" pitchFamily="34" charset="0"/>
                <a:cs typeface="Times New Roman" panose="02020603050405020304" pitchFamily="18" charset="0"/>
              </a:rPr>
              <a:t>Отчитането на едни или други потенциални негативни ефекти от въвеждането на еврото не води обаче еднозначно до неговото отхвърляне. Почти една трета от пълнолетните българи смятат, че ще има отделни проблеми, но те ще са  краткосрочни и преодолими. Други 28 на сто са на мнение, че ако бъдат предотвратени, или бързо овладени, биха одобрили въвеждането на еврото. Цялостната организация на процеса по въвеждането на европейската валута, противодействието на нелоялни практики и некоректни търговци могат да се окажат ключови за подкрепата от страна на общественото мнение. </a:t>
            </a:r>
          </a:p>
          <a:p>
            <a:pPr algn="just">
              <a:spcAft>
                <a:spcPts val="800"/>
              </a:spcAft>
            </a:pPr>
            <a:endParaRPr lang="bg-BG" sz="1400" dirty="0">
              <a:effectLst/>
              <a:ea typeface="Calibri" panose="020F0502020204030204" pitchFamily="34" charset="0"/>
              <a:cs typeface="Times New Roman" panose="02020603050405020304" pitchFamily="18" charset="0"/>
            </a:endParaRPr>
          </a:p>
          <a:p>
            <a:pPr algn="just">
              <a:spcAft>
                <a:spcPts val="800"/>
              </a:spcAft>
            </a:pPr>
            <a:endParaRPr lang="bg-BG" sz="1400" dirty="0">
              <a:ea typeface="Calibri" panose="020F0502020204030204" pitchFamily="34" charset="0"/>
              <a:cs typeface="Times New Roman" panose="02020603050405020304" pitchFamily="18" charset="0"/>
            </a:endParaRPr>
          </a:p>
          <a:p>
            <a:pPr algn="just">
              <a:spcAft>
                <a:spcPts val="800"/>
              </a:spcAft>
            </a:pPr>
            <a:endParaRPr lang="bg-BG" sz="1400" dirty="0">
              <a:effectLst/>
              <a:ea typeface="Calibri" panose="020F0502020204030204" pitchFamily="34" charset="0"/>
              <a:cs typeface="Times New Roman" panose="02020603050405020304" pitchFamily="18" charset="0"/>
            </a:endParaRPr>
          </a:p>
          <a:p>
            <a:pPr algn="just">
              <a:spcAft>
                <a:spcPts val="800"/>
              </a:spcAft>
            </a:pPr>
            <a:endParaRPr lang="bg-BG" sz="1400" dirty="0">
              <a:ea typeface="Calibri" panose="020F0502020204030204" pitchFamily="34" charset="0"/>
              <a:cs typeface="Times New Roman" panose="02020603050405020304" pitchFamily="18" charset="0"/>
            </a:endParaRPr>
          </a:p>
          <a:p>
            <a:pPr algn="just">
              <a:spcAft>
                <a:spcPts val="800"/>
              </a:spcAft>
            </a:pPr>
            <a:endParaRPr lang="bg-BG" sz="1400" dirty="0">
              <a:effectLst/>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endParaRPr lang="bg-BG" sz="1400" dirty="0">
              <a:effectLst/>
              <a:ea typeface="Calibri" panose="020F0502020204030204" pitchFamily="34" charset="0"/>
              <a:cs typeface="Times New Roman" panose="02020603050405020304" pitchFamily="18" charset="0"/>
            </a:endParaRPr>
          </a:p>
        </p:txBody>
      </p:sp>
      <p:sp>
        <p:nvSpPr>
          <p:cNvPr id="5" name="Заглавие 1">
            <a:extLst>
              <a:ext uri="{FF2B5EF4-FFF2-40B4-BE49-F238E27FC236}">
                <a16:creationId xmlns:a16="http://schemas.microsoft.com/office/drawing/2014/main" id="{C85C1C76-DF68-388F-772F-06392494DB18}"/>
              </a:ext>
            </a:extLst>
          </p:cNvPr>
          <p:cNvSpPr txBox="1">
            <a:spLocks/>
          </p:cNvSpPr>
          <p:nvPr/>
        </p:nvSpPr>
        <p:spPr>
          <a:xfrm>
            <a:off x="1887905" y="506117"/>
            <a:ext cx="10304094" cy="744884"/>
          </a:xfrm>
          <a:prstGeom prst="rect">
            <a:avLst/>
          </a:prstGeom>
        </p:spPr>
        <p:txBody>
          <a:bodyPr/>
          <a:lstStyle>
            <a:lvl1pPr algn="ctr" defTabSz="914411" rtl="0" eaLnBrk="1" latinLnBrk="0" hangingPunct="1">
              <a:lnSpc>
                <a:spcPct val="90000"/>
              </a:lnSpc>
              <a:spcBef>
                <a:spcPct val="0"/>
              </a:spcBef>
              <a:buNone/>
              <a:defRPr sz="4000" b="1" kern="1200">
                <a:solidFill>
                  <a:schemeClr val="accent2"/>
                </a:solidFill>
                <a:latin typeface="+mj-lt"/>
                <a:ea typeface="+mj-ea"/>
                <a:cs typeface="+mj-cs"/>
              </a:defRPr>
            </a:lvl1pPr>
          </a:lstStyle>
          <a:p>
            <a:endParaRPr lang="bg-BG" sz="2000" dirty="0"/>
          </a:p>
        </p:txBody>
      </p:sp>
    </p:spTree>
    <p:extLst>
      <p:ext uri="{BB962C8B-B14F-4D97-AF65-F5344CB8AC3E}">
        <p14:creationId xmlns:p14="http://schemas.microsoft.com/office/powerpoint/2010/main" val="433587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Контейнер за номер на слайда 2">
            <a:extLst>
              <a:ext uri="{FF2B5EF4-FFF2-40B4-BE49-F238E27FC236}">
                <a16:creationId xmlns:a16="http://schemas.microsoft.com/office/drawing/2014/main" id="{532F9188-49B4-79B9-206B-1E18E605784B}"/>
              </a:ext>
            </a:extLst>
          </p:cNvPr>
          <p:cNvSpPr>
            <a:spLocks noGrp="1"/>
          </p:cNvSpPr>
          <p:nvPr>
            <p:ph type="sldNum" sz="quarter" idx="4"/>
          </p:nvPr>
        </p:nvSpPr>
        <p:spPr/>
        <p:txBody>
          <a:bodyPr/>
          <a:lstStyle/>
          <a:p>
            <a:fld id="{DE3AA45F-980D-4F34-ABAD-1E35E3E654A8}" type="slidenum">
              <a:rPr lang="bg-BG" smtClean="0"/>
              <a:pPr/>
              <a:t>6</a:t>
            </a:fld>
            <a:endParaRPr lang="bg-BG" dirty="0"/>
          </a:p>
        </p:txBody>
      </p:sp>
      <p:sp>
        <p:nvSpPr>
          <p:cNvPr id="6" name="Текстово поле 5">
            <a:extLst>
              <a:ext uri="{FF2B5EF4-FFF2-40B4-BE49-F238E27FC236}">
                <a16:creationId xmlns:a16="http://schemas.microsoft.com/office/drawing/2014/main" id="{6BFF38CF-63E5-EBB4-F65F-6470970B53FF}"/>
              </a:ext>
            </a:extLst>
          </p:cNvPr>
          <p:cNvSpPr txBox="1"/>
          <p:nvPr/>
        </p:nvSpPr>
        <p:spPr>
          <a:xfrm>
            <a:off x="2120112" y="809671"/>
            <a:ext cx="9875520" cy="6822380"/>
          </a:xfrm>
          <a:prstGeom prst="rect">
            <a:avLst/>
          </a:prstGeom>
          <a:noFill/>
        </p:spPr>
        <p:txBody>
          <a:bodyPr wrap="square">
            <a:spAutoFit/>
          </a:bodyPr>
          <a:lstStyle/>
          <a:p>
            <a:pPr algn="just">
              <a:spcAft>
                <a:spcPts val="800"/>
              </a:spcAft>
            </a:pPr>
            <a:r>
              <a:rPr lang="bg-BG" sz="1400" dirty="0">
                <a:effectLst/>
                <a:ea typeface="Calibri" panose="020F0502020204030204" pitchFamily="34" charset="0"/>
                <a:cs typeface="Times New Roman" panose="02020603050405020304" pitchFamily="18" charset="0"/>
              </a:rPr>
              <a:t>Анализът по социални групи очертава следните особености в отношението към еврото: </a:t>
            </a:r>
          </a:p>
          <a:p>
            <a:pPr marL="742950" lvl="1" indent="-285750" algn="just">
              <a:spcAft>
                <a:spcPts val="800"/>
              </a:spcAft>
              <a:buFont typeface="Arial" panose="020B0604020202020204" pitchFamily="34" charset="0"/>
              <a:buChar char="•"/>
            </a:pPr>
            <a:r>
              <a:rPr lang="bg-BG" sz="1400" dirty="0">
                <a:cs typeface="Times New Roman" panose="02020603050405020304" pitchFamily="18" charset="0"/>
              </a:rPr>
              <a:t>Опасенията и страховете доминират сред хората с по-ниско образование, възрастните с по-ниски доходи, живеещи в по-малките населени места. Тези  характеристики са взаимно свързани и практически обхващат около една трета от населението;</a:t>
            </a:r>
          </a:p>
          <a:p>
            <a:pPr marL="742950" lvl="1" indent="-285750" algn="just">
              <a:spcAft>
                <a:spcPts val="800"/>
              </a:spcAft>
              <a:buFont typeface="Arial" panose="020B0604020202020204" pitchFamily="34" charset="0"/>
              <a:buChar char="•"/>
            </a:pPr>
            <a:r>
              <a:rPr lang="bg-BG" sz="1400" dirty="0">
                <a:effectLst/>
                <a:ea typeface="Calibri" panose="020F0502020204030204" pitchFamily="34" charset="0"/>
                <a:cs typeface="Times New Roman" panose="02020603050405020304" pitchFamily="18" charset="0"/>
              </a:rPr>
              <a:t>Най-позитивно настроени са хората с високо образовани</a:t>
            </a:r>
            <a:r>
              <a:rPr lang="bg-BG" sz="1400" dirty="0">
                <a:ea typeface="Calibri" panose="020F0502020204030204" pitchFamily="34" charset="0"/>
                <a:cs typeface="Times New Roman" panose="02020603050405020304" pitchFamily="18" charset="0"/>
              </a:rPr>
              <a:t>е, социален статус и доходи, живеещи в по-големите градове, които виждат и най-добри дългосрочни перспективи пред себе си и пред страната от въвеждането на еврото. </a:t>
            </a:r>
          </a:p>
          <a:p>
            <a:pPr marL="742950" lvl="1" indent="-285750" algn="just">
              <a:spcAft>
                <a:spcPts val="800"/>
              </a:spcAft>
              <a:buFont typeface="Arial" panose="020B0604020202020204" pitchFamily="34" charset="0"/>
              <a:buChar char="•"/>
            </a:pPr>
            <a:r>
              <a:rPr lang="bg-BG" sz="1400" dirty="0">
                <a:effectLst/>
                <a:ea typeface="Calibri" panose="020F0502020204030204" pitchFamily="34" charset="0"/>
                <a:cs typeface="Times New Roman" panose="02020603050405020304" pitchFamily="18" charset="0"/>
              </a:rPr>
              <a:t>Най-високи позитивни очаквания имат ИТ секторът, транспортът, леката промишленост, туризъм и хотелиерство. Опасения споделят основно фирмите от сектор строителство и селско стопанство и в по-малка степен – част от </a:t>
            </a:r>
            <a:r>
              <a:rPr lang="bg-BG" sz="1400" dirty="0">
                <a:ea typeface="Calibri" panose="020F0502020204030204" pitchFamily="34" charset="0"/>
                <a:cs typeface="Times New Roman" panose="02020603050405020304" pitchFamily="18" charset="0"/>
              </a:rPr>
              <a:t>тези в </a:t>
            </a:r>
            <a:r>
              <a:rPr lang="bg-BG" sz="1400" dirty="0">
                <a:effectLst/>
                <a:ea typeface="Calibri" panose="020F0502020204030204" pitchFamily="34" charset="0"/>
                <a:cs typeface="Times New Roman" panose="02020603050405020304" pitchFamily="18" charset="0"/>
              </a:rPr>
              <a:t>тежката индустрия и търговията.</a:t>
            </a:r>
          </a:p>
          <a:p>
            <a:pPr algn="just">
              <a:spcAft>
                <a:spcPts val="800"/>
              </a:spcAft>
            </a:pPr>
            <a:r>
              <a:rPr lang="ru-RU" sz="1400" dirty="0">
                <a:cs typeface="Times New Roman" panose="02020603050405020304" pitchFamily="18" charset="0"/>
              </a:rPr>
              <a:t>С </a:t>
            </a:r>
            <a:r>
              <a:rPr lang="bg-BG" sz="1400" dirty="0">
                <a:cs typeface="Times New Roman" panose="02020603050405020304" pitchFamily="18" charset="0"/>
              </a:rPr>
              <a:t>присъединяването</a:t>
            </a:r>
            <a:r>
              <a:rPr lang="ru-RU" sz="1400" dirty="0">
                <a:cs typeface="Times New Roman" panose="02020603050405020304" pitchFamily="18" charset="0"/>
              </a:rPr>
              <a:t> на </a:t>
            </a:r>
            <a:r>
              <a:rPr lang="bg-BG" sz="1400" dirty="0">
                <a:cs typeface="Times New Roman" panose="02020603050405020304" pitchFamily="18" charset="0"/>
              </a:rPr>
              <a:t>България</a:t>
            </a:r>
            <a:r>
              <a:rPr lang="ru-RU" sz="1400" dirty="0">
                <a:cs typeface="Times New Roman" panose="02020603050405020304" pitchFamily="18" charset="0"/>
              </a:rPr>
              <a:t> </a:t>
            </a:r>
            <a:r>
              <a:rPr lang="bg-BG" sz="1400" dirty="0">
                <a:cs typeface="Times New Roman" panose="02020603050405020304" pitchFamily="18" charset="0"/>
              </a:rPr>
              <a:t>към ЕС са се разширили и възможностите </a:t>
            </a:r>
            <a:r>
              <a:rPr lang="ru-RU" sz="1400" dirty="0">
                <a:cs typeface="Times New Roman" panose="02020603050405020304" pitchFamily="18" charset="0"/>
              </a:rPr>
              <a:t>на </a:t>
            </a:r>
            <a:r>
              <a:rPr lang="bg-BG" sz="1400" dirty="0">
                <a:cs typeface="Times New Roman" panose="02020603050405020304" pitchFamily="18" charset="0"/>
              </a:rPr>
              <a:t>българите за пълноценно участие в общото европейско пространство – свободно пътуване, образование, сезонна или по-дълготрайна работа. Едва 23% от пълнолетните българи твърдят, че никога не са били в страна от ЕС. 77% по-рядко, или по-често са посещавали страни от съюза, като 30%  от анкетираните – поне един път годишно. При бизнеса контактите са още по-интензивни – 46% от ръководния персонал на фирмите редовно пътува в страни от ЕС. Не случайно удобството за разплащане при пътуване е поставено на първо място сред позитивните ефекти – и от гражданите, и от бизнеса. </a:t>
            </a:r>
          </a:p>
          <a:p>
            <a:pPr algn="just">
              <a:spcAft>
                <a:spcPts val="800"/>
              </a:spcAft>
            </a:pPr>
            <a:r>
              <a:rPr lang="bg-BG" sz="1400" dirty="0">
                <a:cs typeface="Times New Roman" panose="02020603050405020304" pitchFamily="18" charset="0"/>
              </a:rPr>
              <a:t>Пътуванията са важен, но не единствен повод за използване на единната европейска валута. Данните от националното представително проучване показват, че 44% от гражданите са използвали евро през последната година, като някои от тях – и по няколко различни повода. 37% са извършвали банкови преводи, директни плащания, или разплащания с карта в евро; всеки десети използва еврото като средство за спестяване, 9% - за обявяване продажната цена на по-скъпи стоки и услуги (продажба или наем на апартамент, автомобил и пр.). Използването на еврото е още по-честа практика сред бизнеса. Три четвърти са извършвали плащания в евро, една четвърт го използват като средство за спестяване, а една пета – за обявяване цените на по-скъпи стоки и услуги. </a:t>
            </a:r>
          </a:p>
          <a:p>
            <a:pPr algn="just">
              <a:spcAft>
                <a:spcPts val="800"/>
              </a:spcAft>
            </a:pPr>
            <a:r>
              <a:rPr lang="bg-BG" sz="1400" dirty="0">
                <a:cs typeface="Times New Roman" panose="02020603050405020304" pitchFamily="18" charset="0"/>
              </a:rPr>
              <a:t>Най-ограничен опит в използването на еврото – както от тях самите, така и от обкръжението им – имат възрастните хора, тези с основно образование и много ниски доходи, живеещи в селата. Над 75% от тях заявяват, че по никакъв повод досега не са използвали евро. </a:t>
            </a:r>
          </a:p>
          <a:p>
            <a:pPr lvl="1" algn="just">
              <a:spcAft>
                <a:spcPts val="800"/>
              </a:spcAft>
            </a:pPr>
            <a:endParaRPr lang="bg-BG" sz="1400" dirty="0">
              <a:effectLst/>
              <a:ea typeface="Calibri" panose="020F0502020204030204" pitchFamily="34" charset="0"/>
              <a:cs typeface="Times New Roman" panose="02020603050405020304" pitchFamily="18" charset="0"/>
            </a:endParaRPr>
          </a:p>
          <a:p>
            <a:pPr algn="just">
              <a:spcAft>
                <a:spcPts val="800"/>
              </a:spcAft>
            </a:pPr>
            <a:endParaRPr lang="bg-BG" sz="1400" dirty="0">
              <a:effectLst/>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endParaRPr lang="bg-BG" sz="1400" dirty="0">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endParaRPr lang="bg-BG" sz="1400" dirty="0">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endParaRPr lang="bg-BG" sz="1400" dirty="0">
              <a:ea typeface="Calibri" panose="020F0502020204030204" pitchFamily="34" charset="0"/>
              <a:cs typeface="Times New Roman" panose="02020603050405020304" pitchFamily="18" charset="0"/>
            </a:endParaRPr>
          </a:p>
        </p:txBody>
      </p:sp>
      <p:sp>
        <p:nvSpPr>
          <p:cNvPr id="5" name="Заглавие 1">
            <a:extLst>
              <a:ext uri="{FF2B5EF4-FFF2-40B4-BE49-F238E27FC236}">
                <a16:creationId xmlns:a16="http://schemas.microsoft.com/office/drawing/2014/main" id="{C85C1C76-DF68-388F-772F-06392494DB18}"/>
              </a:ext>
            </a:extLst>
          </p:cNvPr>
          <p:cNvSpPr txBox="1">
            <a:spLocks/>
          </p:cNvSpPr>
          <p:nvPr/>
        </p:nvSpPr>
        <p:spPr>
          <a:xfrm>
            <a:off x="1813458" y="255595"/>
            <a:ext cx="10304094" cy="744884"/>
          </a:xfrm>
          <a:prstGeom prst="rect">
            <a:avLst/>
          </a:prstGeom>
        </p:spPr>
        <p:txBody>
          <a:bodyPr/>
          <a:lstStyle>
            <a:lvl1pPr algn="ctr" defTabSz="914411" rtl="0" eaLnBrk="1" latinLnBrk="0" hangingPunct="1">
              <a:lnSpc>
                <a:spcPct val="90000"/>
              </a:lnSpc>
              <a:spcBef>
                <a:spcPct val="0"/>
              </a:spcBef>
              <a:buNone/>
              <a:defRPr sz="4000" b="1" kern="1200">
                <a:solidFill>
                  <a:schemeClr val="accent2"/>
                </a:solidFill>
                <a:latin typeface="+mj-lt"/>
                <a:ea typeface="+mj-ea"/>
                <a:cs typeface="+mj-cs"/>
              </a:defRPr>
            </a:lvl1pPr>
          </a:lstStyle>
          <a:p>
            <a:endParaRPr lang="bg-BG" sz="2000" dirty="0"/>
          </a:p>
        </p:txBody>
      </p:sp>
    </p:spTree>
    <p:extLst>
      <p:ext uri="{BB962C8B-B14F-4D97-AF65-F5344CB8AC3E}">
        <p14:creationId xmlns:p14="http://schemas.microsoft.com/office/powerpoint/2010/main" val="242226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Контейнер за номер на слайда 2">
            <a:extLst>
              <a:ext uri="{FF2B5EF4-FFF2-40B4-BE49-F238E27FC236}">
                <a16:creationId xmlns:a16="http://schemas.microsoft.com/office/drawing/2014/main" id="{72ADD586-FD6B-5A9C-491B-AA18F871EBAD}"/>
              </a:ext>
            </a:extLst>
          </p:cNvPr>
          <p:cNvSpPr>
            <a:spLocks noGrp="1"/>
          </p:cNvSpPr>
          <p:nvPr>
            <p:ph type="sldNum" sz="quarter" idx="4"/>
          </p:nvPr>
        </p:nvSpPr>
        <p:spPr/>
        <p:txBody>
          <a:bodyPr/>
          <a:lstStyle/>
          <a:p>
            <a:fld id="{DE3AA45F-980D-4F34-ABAD-1E35E3E654A8}" type="slidenum">
              <a:rPr lang="bg-BG" smtClean="0"/>
              <a:pPr/>
              <a:t>7</a:t>
            </a:fld>
            <a:endParaRPr lang="bg-BG" dirty="0"/>
          </a:p>
        </p:txBody>
      </p:sp>
      <p:sp>
        <p:nvSpPr>
          <p:cNvPr id="6" name="Текстово поле 5">
            <a:extLst>
              <a:ext uri="{FF2B5EF4-FFF2-40B4-BE49-F238E27FC236}">
                <a16:creationId xmlns:a16="http://schemas.microsoft.com/office/drawing/2014/main" id="{A9BC8E0E-78EA-4F08-D260-4A2430088D99}"/>
              </a:ext>
            </a:extLst>
          </p:cNvPr>
          <p:cNvSpPr txBox="1"/>
          <p:nvPr/>
        </p:nvSpPr>
        <p:spPr>
          <a:xfrm>
            <a:off x="1957345" y="740094"/>
            <a:ext cx="9874800" cy="6453049"/>
          </a:xfrm>
          <a:prstGeom prst="rect">
            <a:avLst/>
          </a:prstGeom>
          <a:noFill/>
        </p:spPr>
        <p:txBody>
          <a:bodyPr wrap="square">
            <a:spAutoFit/>
          </a:bodyPr>
          <a:lstStyle/>
          <a:p>
            <a:pPr algn="just">
              <a:spcBef>
                <a:spcPts val="1000"/>
              </a:spcBef>
              <a:spcAft>
                <a:spcPts val="800"/>
              </a:spcAft>
            </a:pPr>
            <a:r>
              <a:rPr lang="bg-BG" sz="1400" dirty="0">
                <a:cs typeface="Times New Roman" panose="02020603050405020304" pitchFamily="18" charset="0"/>
              </a:rPr>
              <a:t>Анализът на ежедневните практики в използването на еврото показва, че българите не са много различни от гражданите на Хърватия, с която често се сравняваме в процеса на приемане на еврото. В аналогично национално проучване, проведено през 2019г. 49% от анкетираните хървати посочват, че са използвали еврото за разплащане през последната година, а при българите този дял е 44% . </a:t>
            </a:r>
            <a:endParaRPr lang="ru-RU" sz="1400" dirty="0">
              <a:cs typeface="Times New Roman" panose="02020603050405020304" pitchFamily="18" charset="0"/>
            </a:endParaRPr>
          </a:p>
          <a:p>
            <a:pPr algn="just">
              <a:spcBef>
                <a:spcPts val="1000"/>
              </a:spcBef>
              <a:spcAft>
                <a:spcPts val="800"/>
              </a:spcAft>
            </a:pPr>
            <a:r>
              <a:rPr lang="bg-BG" sz="1400" dirty="0">
                <a:cs typeface="Times New Roman" panose="02020603050405020304" pitchFamily="18" charset="0"/>
              </a:rPr>
              <a:t>Противоположно на по-скептичните нагласи на половината от пълнолетните български граждани относно въвеждането на еврото, продиктувани основно от страховете за поскъпване на живота, самооценките за това как биха се адаптирали към еврото, са по-скоро позитивни. 60% от анкетираните българи смятат, че сравнително лесно ще се адаптират към еврото, срещу 34%, които са на противоположното мнение. Във втората група се открояват преди всичко възрастните и хората с основно образование – над 60% от тях очакват да срещнат трудности през периода на преход. По всяка вероятност това ще са и хората с най-висок риск от измами от недобросъвестни лица и към тях трябва да бъде насочено специално внимание от институциите, местната власт, контролните органи. </a:t>
            </a:r>
          </a:p>
          <a:p>
            <a:pPr algn="just">
              <a:spcAft>
                <a:spcPts val="800"/>
              </a:spcAft>
            </a:pPr>
            <a:r>
              <a:rPr lang="bg-BG" sz="1400" dirty="0">
                <a:ea typeface="Calibri" panose="020F0502020204030204" pitchFamily="34" charset="0"/>
                <a:cs typeface="Times New Roman" panose="02020603050405020304" pitchFamily="18" charset="0"/>
              </a:rPr>
              <a:t>Общото равнище на информираност сред българските граждани във връзка с присъединяването на страната ни към еврозоната е относително слабо, а активното търсене на информация – ограничаващо се до няколко пряко заинтересовани социални групи</a:t>
            </a:r>
            <a:r>
              <a:rPr lang="ru-RU" sz="1400" dirty="0">
                <a:ea typeface="Calibri" panose="020F0502020204030204" pitchFamily="34" charset="0"/>
                <a:cs typeface="Times New Roman" panose="02020603050405020304" pitchFamily="18" charset="0"/>
              </a:rPr>
              <a:t>.</a:t>
            </a:r>
            <a:endParaRPr lang="bg-BG" sz="1400" dirty="0">
              <a:effectLst/>
              <a:ea typeface="Calibri" panose="020F0502020204030204" pitchFamily="34" charset="0"/>
              <a:cs typeface="Times New Roman" panose="02020603050405020304" pitchFamily="18" charset="0"/>
            </a:endParaRPr>
          </a:p>
          <a:p>
            <a:pPr algn="just">
              <a:spcAft>
                <a:spcPts val="800"/>
              </a:spcAft>
            </a:pPr>
            <a:r>
              <a:rPr lang="bg-BG" sz="1400" dirty="0">
                <a:effectLst/>
                <a:ea typeface="Calibri" panose="020F0502020204030204" pitchFamily="34" charset="0"/>
                <a:cs typeface="Times New Roman" panose="02020603050405020304" pitchFamily="18" charset="0"/>
              </a:rPr>
              <a:t>Само 11% от анкетираните в националното представително проучване се </a:t>
            </a:r>
            <a:r>
              <a:rPr lang="bg-BG" sz="1400" dirty="0" err="1">
                <a:effectLst/>
                <a:ea typeface="Calibri" panose="020F0502020204030204" pitchFamily="34" charset="0"/>
                <a:cs typeface="Times New Roman" panose="02020603050405020304" pitchFamily="18" charset="0"/>
              </a:rPr>
              <a:t>самооценяват</a:t>
            </a:r>
            <a:r>
              <a:rPr lang="bg-BG" sz="1400" dirty="0">
                <a:effectLst/>
                <a:ea typeface="Calibri" panose="020F0502020204030204" pitchFamily="34" charset="0"/>
                <a:cs typeface="Times New Roman" panose="02020603050405020304" pitchFamily="18" charset="0"/>
              </a:rPr>
              <a:t> като </a:t>
            </a:r>
            <a:r>
              <a:rPr lang="bg-BG" sz="1400" i="1" dirty="0">
                <a:effectLst/>
                <a:ea typeface="Calibri" panose="020F0502020204030204" pitchFamily="34" charset="0"/>
                <a:cs typeface="Times New Roman" panose="02020603050405020304" pitchFamily="18" charset="0"/>
              </a:rPr>
              <a:t>много добре информирани </a:t>
            </a:r>
            <a:r>
              <a:rPr lang="bg-BG" sz="1400" dirty="0">
                <a:effectLst/>
                <a:ea typeface="Calibri" panose="020F0502020204030204" pitchFamily="34" charset="0"/>
                <a:cs typeface="Times New Roman" panose="02020603050405020304" pitchFamily="18" charset="0"/>
              </a:rPr>
              <a:t>по тези въпроси, а 32%  - като </a:t>
            </a:r>
            <a:r>
              <a:rPr lang="bg-BG" sz="1400" i="1" dirty="0">
                <a:effectLst/>
                <a:ea typeface="Calibri" panose="020F0502020204030204" pitchFamily="34" charset="0"/>
                <a:cs typeface="Times New Roman" panose="02020603050405020304" pitchFamily="18" charset="0"/>
              </a:rPr>
              <a:t>по-скоро добре информирани</a:t>
            </a:r>
            <a:r>
              <a:rPr lang="bg-BG" sz="1400" dirty="0">
                <a:effectLst/>
                <a:ea typeface="Calibri" panose="020F0502020204030204" pitchFamily="34" charset="0"/>
                <a:cs typeface="Times New Roman" panose="02020603050405020304" pitchFamily="18" charset="0"/>
              </a:rPr>
              <a:t>. Общо 56% посочват, че са </a:t>
            </a:r>
            <a:r>
              <a:rPr lang="bg-BG" sz="1400" i="1" dirty="0">
                <a:effectLst/>
                <a:ea typeface="Calibri" panose="020F0502020204030204" pitchFamily="34" charset="0"/>
                <a:cs typeface="Times New Roman" panose="02020603050405020304" pitchFamily="18" charset="0"/>
              </a:rPr>
              <a:t>по-скоро слабо запознати </a:t>
            </a:r>
            <a:r>
              <a:rPr lang="bg-BG" sz="1400" dirty="0">
                <a:effectLst/>
                <a:ea typeface="Calibri" panose="020F0502020204030204" pitchFamily="34" charset="0"/>
                <a:cs typeface="Times New Roman" panose="02020603050405020304" pitchFamily="18" charset="0"/>
              </a:rPr>
              <a:t>(38%) или </a:t>
            </a:r>
            <a:r>
              <a:rPr lang="bg-BG" sz="1400" i="1" dirty="0">
                <a:effectLst/>
                <a:ea typeface="Calibri" panose="020F0502020204030204" pitchFamily="34" charset="0"/>
                <a:cs typeface="Times New Roman" panose="02020603050405020304" pitchFamily="18" charset="0"/>
              </a:rPr>
              <a:t>изобщо не са запознати </a:t>
            </a:r>
            <a:r>
              <a:rPr lang="bg-BG" sz="1400" dirty="0">
                <a:effectLst/>
                <a:ea typeface="Calibri" panose="020F0502020204030204" pitchFamily="34" charset="0"/>
                <a:cs typeface="Times New Roman" panose="02020603050405020304" pitchFamily="18" charset="0"/>
              </a:rPr>
              <a:t>(18%).</a:t>
            </a:r>
          </a:p>
          <a:p>
            <a:pPr algn="just">
              <a:spcAft>
                <a:spcPts val="800"/>
              </a:spcAft>
            </a:pPr>
            <a:r>
              <a:rPr lang="bg-BG" sz="1400" dirty="0">
                <a:effectLst/>
                <a:ea typeface="Calibri" panose="020F0502020204030204" pitchFamily="34" charset="0"/>
                <a:cs typeface="Times New Roman" panose="02020603050405020304" pitchFamily="18" charset="0"/>
              </a:rPr>
              <a:t>Налице е ясно изразена взаимовръзка между нивото на информираност и одобрението към еврото. 44% от оценяващите са като много добре информирани са „за“ приемането на еврото, срещу едва 2% от оценяващите се като неинформирани. Косвено доказателство за това са и нагласите сред бизнеса, които се характеризират с високи нива на одобрение към еврото и същевременно над три четвърти от предприемачите се определят като много добре или по-скоро добре информирани.</a:t>
            </a:r>
          </a:p>
          <a:p>
            <a:pPr algn="just">
              <a:spcAft>
                <a:spcPts val="800"/>
              </a:spcAft>
            </a:pPr>
            <a:r>
              <a:rPr lang="bg-BG" sz="1400" dirty="0">
                <a:effectLst/>
                <a:ea typeface="Calibri" panose="020F0502020204030204" pitchFamily="34" charset="0"/>
                <a:cs typeface="Times New Roman" panose="02020603050405020304" pitchFamily="18" charset="0"/>
              </a:rPr>
              <a:t>Интервюираните идентифицират </a:t>
            </a:r>
            <a:r>
              <a:rPr lang="bg-BG" sz="1400" dirty="0">
                <a:ea typeface="Calibri" panose="020F0502020204030204" pitchFamily="34" charset="0"/>
                <a:cs typeface="Times New Roman" panose="02020603050405020304" pitchFamily="18" charset="0"/>
              </a:rPr>
              <a:t>широка палитра от </a:t>
            </a:r>
            <a:r>
              <a:rPr lang="bg-BG" sz="1400" dirty="0">
                <a:effectLst/>
                <a:ea typeface="Calibri" panose="020F0502020204030204" pitchFamily="34" charset="0"/>
                <a:cs typeface="Times New Roman" panose="02020603050405020304" pitchFamily="18" charset="0"/>
              </a:rPr>
              <a:t>въпроси, по които биха искали да получат повече яснота. Поради все още слабата информираност повечето теми се оценяват като „много важни“. Все пак, приоритетно се посочват онези, които са свързани с най-често изразяваните страхове - цени, инфлация, некоректни практики.  55% посочват, че за тях е важно да разберат кой ще следи и санкционира за измами, 47% - дали ще има фиксиран курс при обмяната на левове в евро и какъв ще бъде той, 46% </a:t>
            </a:r>
            <a:r>
              <a:rPr lang="bg-BG" sz="1400" dirty="0">
                <a:ea typeface="Calibri" panose="020F0502020204030204" pitchFamily="34" charset="0"/>
                <a:cs typeface="Times New Roman" panose="02020603050405020304" pitchFamily="18" charset="0"/>
              </a:rPr>
              <a:t>– </a:t>
            </a:r>
            <a:r>
              <a:rPr lang="bg-BG" sz="1400" dirty="0">
                <a:effectLst/>
                <a:ea typeface="Calibri" panose="020F0502020204030204" pitchFamily="34" charset="0"/>
                <a:cs typeface="Times New Roman" panose="02020603050405020304" pitchFamily="18" charset="0"/>
              </a:rPr>
              <a:t>къде да  сигнализират, ако  попаднат  на некоректни търговци, също толкова - дали ще има такси при обменянето на левове в евро. По около 40 на сто се вълнуват колко време цените в магазините ще се обявяват в двете валути и докога ще може да се плаща и в лева, и в евро. </a:t>
            </a:r>
          </a:p>
          <a:p>
            <a:pPr marL="285750" indent="-285750" algn="just">
              <a:spcAft>
                <a:spcPts val="800"/>
              </a:spcAft>
              <a:buFont typeface="Arial" panose="020B0604020202020204" pitchFamily="34" charset="0"/>
              <a:buChar char="•"/>
            </a:pPr>
            <a:endParaRPr lang="bg-BG" sz="1400" dirty="0">
              <a:effectLst/>
              <a:ea typeface="Calibri" panose="020F0502020204030204" pitchFamily="34" charset="0"/>
              <a:cs typeface="Times New Roman" panose="02020603050405020304" pitchFamily="18" charset="0"/>
            </a:endParaRPr>
          </a:p>
          <a:p>
            <a:pPr marL="285750" indent="-285750" algn="just">
              <a:spcBef>
                <a:spcPts val="1000"/>
              </a:spcBef>
              <a:spcAft>
                <a:spcPts val="800"/>
              </a:spcAft>
              <a:buFont typeface="Arial" panose="020B0604020202020204" pitchFamily="34" charset="0"/>
              <a:buChar char="•"/>
            </a:pPr>
            <a:endParaRPr lang="bg-BG" sz="1400" dirty="0">
              <a:cs typeface="Times New Roman" panose="02020603050405020304" pitchFamily="18" charset="0"/>
            </a:endParaRPr>
          </a:p>
        </p:txBody>
      </p:sp>
      <p:sp>
        <p:nvSpPr>
          <p:cNvPr id="5" name="Заглавие 1">
            <a:extLst>
              <a:ext uri="{FF2B5EF4-FFF2-40B4-BE49-F238E27FC236}">
                <a16:creationId xmlns:a16="http://schemas.microsoft.com/office/drawing/2014/main" id="{0A21B388-58AF-EE21-4139-727E3B47F28F}"/>
              </a:ext>
            </a:extLst>
          </p:cNvPr>
          <p:cNvSpPr txBox="1">
            <a:spLocks/>
          </p:cNvSpPr>
          <p:nvPr/>
        </p:nvSpPr>
        <p:spPr>
          <a:xfrm>
            <a:off x="1813818" y="482890"/>
            <a:ext cx="10304094" cy="744884"/>
          </a:xfrm>
          <a:prstGeom prst="rect">
            <a:avLst/>
          </a:prstGeom>
        </p:spPr>
        <p:txBody>
          <a:bodyPr/>
          <a:lstStyle>
            <a:lvl1pPr algn="ctr" defTabSz="914411" rtl="0" eaLnBrk="1" latinLnBrk="0" hangingPunct="1">
              <a:lnSpc>
                <a:spcPct val="90000"/>
              </a:lnSpc>
              <a:spcBef>
                <a:spcPct val="0"/>
              </a:spcBef>
              <a:buNone/>
              <a:defRPr sz="4000" b="1" kern="1200">
                <a:solidFill>
                  <a:schemeClr val="accent2"/>
                </a:solidFill>
                <a:latin typeface="+mj-lt"/>
                <a:ea typeface="+mj-ea"/>
                <a:cs typeface="+mj-cs"/>
              </a:defRPr>
            </a:lvl1pPr>
          </a:lstStyle>
          <a:p>
            <a:endParaRPr lang="bg-BG" sz="2000" dirty="0"/>
          </a:p>
        </p:txBody>
      </p:sp>
    </p:spTree>
    <p:extLst>
      <p:ext uri="{BB962C8B-B14F-4D97-AF65-F5344CB8AC3E}">
        <p14:creationId xmlns:p14="http://schemas.microsoft.com/office/powerpoint/2010/main" val="520681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a:extLst>
              <a:ext uri="{FF2B5EF4-FFF2-40B4-BE49-F238E27FC236}">
                <a16:creationId xmlns:a16="http://schemas.microsoft.com/office/drawing/2014/main" id="{7755C759-F588-5538-79B2-8A4C1C02C4A3}"/>
              </a:ext>
            </a:extLst>
          </p:cNvPr>
          <p:cNvSpPr>
            <a:spLocks noGrp="1"/>
          </p:cNvSpPr>
          <p:nvPr>
            <p:ph type="title"/>
          </p:nvPr>
        </p:nvSpPr>
        <p:spPr/>
        <p:txBody>
          <a:bodyPr/>
          <a:lstStyle/>
          <a:p>
            <a:r>
              <a:rPr lang="bg-BG" dirty="0"/>
              <a:t>ОСНОВНИ РЕЗУЛТАТИ</a:t>
            </a:r>
          </a:p>
        </p:txBody>
      </p:sp>
    </p:spTree>
    <p:extLst>
      <p:ext uri="{BB962C8B-B14F-4D97-AF65-F5344CB8AC3E}">
        <p14:creationId xmlns:p14="http://schemas.microsoft.com/office/powerpoint/2010/main" val="1119285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
            <a:extLst>
              <a:ext uri="{FF2B5EF4-FFF2-40B4-BE49-F238E27FC236}">
                <a16:creationId xmlns:a16="http://schemas.microsoft.com/office/drawing/2014/main" id="{4ADAE408-DCE3-7B29-D7E9-8AF629DA26E3}"/>
              </a:ext>
            </a:extLst>
          </p:cNvPr>
          <p:cNvGrpSpPr/>
          <p:nvPr/>
        </p:nvGrpSpPr>
        <p:grpSpPr>
          <a:xfrm>
            <a:off x="3632892" y="1094209"/>
            <a:ext cx="6071572" cy="4821503"/>
            <a:chOff x="1668106" y="795357"/>
            <a:chExt cx="6632931" cy="5267285"/>
          </a:xfrm>
          <a:solidFill>
            <a:schemeClr val="accent1">
              <a:lumMod val="20000"/>
              <a:lumOff val="80000"/>
            </a:schemeClr>
          </a:solidFill>
        </p:grpSpPr>
        <p:sp>
          <p:nvSpPr>
            <p:cNvPr id="22" name="Freeform 1105">
              <a:extLst>
                <a:ext uri="{FF2B5EF4-FFF2-40B4-BE49-F238E27FC236}">
                  <a16:creationId xmlns:a16="http://schemas.microsoft.com/office/drawing/2014/main" id="{2228CD8A-3150-4AF8-7CD8-EDE68AA45CF0}"/>
                </a:ext>
              </a:extLst>
            </p:cNvPr>
            <p:cNvSpPr>
              <a:spLocks/>
            </p:cNvSpPr>
            <p:nvPr>
              <p:custDataLst>
                <p:tags r:id="rId1"/>
              </p:custDataLst>
            </p:nvPr>
          </p:nvSpPr>
          <p:spPr bwMode="auto">
            <a:xfrm>
              <a:off x="6008807" y="5234443"/>
              <a:ext cx="861972" cy="828199"/>
            </a:xfrm>
            <a:custGeom>
              <a:avLst/>
              <a:gdLst>
                <a:gd name="T0" fmla="*/ 526449 w 793"/>
                <a:gd name="T1" fmla="*/ 88154 h 843"/>
                <a:gd name="T2" fmla="*/ 609882 w 793"/>
                <a:gd name="T3" fmla="*/ 55229 h 843"/>
                <a:gd name="T4" fmla="*/ 678038 w 793"/>
                <a:gd name="T5" fmla="*/ 71161 h 843"/>
                <a:gd name="T6" fmla="*/ 779098 w 793"/>
                <a:gd name="T7" fmla="*/ 71161 h 843"/>
                <a:gd name="T8" fmla="*/ 849604 w 793"/>
                <a:gd name="T9" fmla="*/ 26552 h 843"/>
                <a:gd name="T10" fmla="*/ 931862 w 793"/>
                <a:gd name="T11" fmla="*/ 26552 h 843"/>
                <a:gd name="T12" fmla="*/ 900134 w 793"/>
                <a:gd name="T13" fmla="*/ 92403 h 843"/>
                <a:gd name="T14" fmla="*/ 863706 w 793"/>
                <a:gd name="T15" fmla="*/ 180557 h 843"/>
                <a:gd name="T16" fmla="*/ 713292 w 793"/>
                <a:gd name="T17" fmla="*/ 147632 h 843"/>
                <a:gd name="T18" fmla="*/ 643960 w 793"/>
                <a:gd name="T19" fmla="*/ 164625 h 843"/>
                <a:gd name="T20" fmla="*/ 592255 w 793"/>
                <a:gd name="T21" fmla="*/ 195426 h 843"/>
                <a:gd name="T22" fmla="*/ 558177 w 793"/>
                <a:gd name="T23" fmla="*/ 240035 h 843"/>
                <a:gd name="T24" fmla="*/ 592255 w 793"/>
                <a:gd name="T25" fmla="*/ 300574 h 843"/>
                <a:gd name="T26" fmla="*/ 541726 w 793"/>
                <a:gd name="T27" fmla="*/ 287829 h 843"/>
                <a:gd name="T28" fmla="*/ 507647 w 793"/>
                <a:gd name="T29" fmla="*/ 300574 h 843"/>
                <a:gd name="T30" fmla="*/ 491196 w 793"/>
                <a:gd name="T31" fmla="*/ 316506 h 843"/>
                <a:gd name="T32" fmla="*/ 439491 w 793"/>
                <a:gd name="T33" fmla="*/ 287829 h 843"/>
                <a:gd name="T34" fmla="*/ 357233 w 793"/>
                <a:gd name="T35" fmla="*/ 226227 h 843"/>
                <a:gd name="T36" fmla="*/ 357233 w 793"/>
                <a:gd name="T37" fmla="*/ 316506 h 843"/>
                <a:gd name="T38" fmla="*/ 491196 w 793"/>
                <a:gd name="T39" fmla="*/ 423778 h 843"/>
                <a:gd name="T40" fmla="*/ 439491 w 793"/>
                <a:gd name="T41" fmla="*/ 407846 h 843"/>
                <a:gd name="T42" fmla="*/ 405413 w 793"/>
                <a:gd name="T43" fmla="*/ 454579 h 843"/>
                <a:gd name="T44" fmla="*/ 423039 w 793"/>
                <a:gd name="T45" fmla="*/ 516180 h 843"/>
                <a:gd name="T46" fmla="*/ 558177 w 793"/>
                <a:gd name="T47" fmla="*/ 590527 h 843"/>
                <a:gd name="T48" fmla="*/ 575804 w 793"/>
                <a:gd name="T49" fmla="*/ 682930 h 843"/>
                <a:gd name="T50" fmla="*/ 457118 w 793"/>
                <a:gd name="T51" fmla="*/ 682930 h 843"/>
                <a:gd name="T52" fmla="*/ 526449 w 793"/>
                <a:gd name="T53" fmla="*/ 728600 h 843"/>
                <a:gd name="T54" fmla="*/ 423039 w 793"/>
                <a:gd name="T55" fmla="*/ 728600 h 843"/>
                <a:gd name="T56" fmla="*/ 423039 w 793"/>
                <a:gd name="T57" fmla="*/ 788078 h 843"/>
                <a:gd name="T58" fmla="*/ 491196 w 793"/>
                <a:gd name="T59" fmla="*/ 866673 h 843"/>
                <a:gd name="T60" fmla="*/ 388961 w 793"/>
                <a:gd name="T61" fmla="*/ 849680 h 843"/>
                <a:gd name="T62" fmla="*/ 373685 w 793"/>
                <a:gd name="T63" fmla="*/ 895350 h 843"/>
                <a:gd name="T64" fmla="*/ 304353 w 793"/>
                <a:gd name="T65" fmla="*/ 835872 h 843"/>
                <a:gd name="T66" fmla="*/ 270275 w 793"/>
                <a:gd name="T67" fmla="*/ 818879 h 843"/>
                <a:gd name="T68" fmla="*/ 218570 w 793"/>
                <a:gd name="T69" fmla="*/ 818879 h 843"/>
                <a:gd name="T70" fmla="*/ 218570 w 793"/>
                <a:gd name="T71" fmla="*/ 728600 h 843"/>
                <a:gd name="T72" fmla="*/ 151589 w 793"/>
                <a:gd name="T73" fmla="*/ 652129 h 843"/>
                <a:gd name="T74" fmla="*/ 218570 w 793"/>
                <a:gd name="T75" fmla="*/ 621328 h 843"/>
                <a:gd name="T76" fmla="*/ 304353 w 793"/>
                <a:gd name="T77" fmla="*/ 607521 h 843"/>
                <a:gd name="T78" fmla="*/ 373685 w 793"/>
                <a:gd name="T79" fmla="*/ 638322 h 843"/>
                <a:gd name="T80" fmla="*/ 405413 w 793"/>
                <a:gd name="T81" fmla="*/ 607521 h 843"/>
                <a:gd name="T82" fmla="*/ 323155 w 793"/>
                <a:gd name="T83" fmla="*/ 576720 h 843"/>
                <a:gd name="T84" fmla="*/ 202119 w 793"/>
                <a:gd name="T85" fmla="*/ 576720 h 843"/>
                <a:gd name="T86" fmla="*/ 117511 w 793"/>
                <a:gd name="T87" fmla="*/ 561851 h 843"/>
                <a:gd name="T88" fmla="*/ 99884 w 793"/>
                <a:gd name="T89" fmla="*/ 500249 h 843"/>
                <a:gd name="T90" fmla="*/ 136313 w 793"/>
                <a:gd name="T91" fmla="*/ 469448 h 843"/>
                <a:gd name="T92" fmla="*/ 68156 w 793"/>
                <a:gd name="T93" fmla="*/ 440771 h 843"/>
                <a:gd name="T94" fmla="*/ 17627 w 793"/>
                <a:gd name="T95" fmla="*/ 378107 h 843"/>
                <a:gd name="T96" fmla="*/ 83433 w 793"/>
                <a:gd name="T97" fmla="*/ 316506 h 843"/>
                <a:gd name="T98" fmla="*/ 136313 w 793"/>
                <a:gd name="T99" fmla="*/ 240035 h 843"/>
                <a:gd name="T100" fmla="*/ 117511 w 793"/>
                <a:gd name="T101" fmla="*/ 164625 h 843"/>
                <a:gd name="T102" fmla="*/ 202119 w 793"/>
                <a:gd name="T103" fmla="*/ 164625 h 843"/>
                <a:gd name="T104" fmla="*/ 323155 w 793"/>
                <a:gd name="T105" fmla="*/ 133825 h 843"/>
                <a:gd name="T106" fmla="*/ 423039 w 793"/>
                <a:gd name="T107" fmla="*/ 88154 h 8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3" h="843">
                  <a:moveTo>
                    <a:pt x="331" y="83"/>
                  </a:moveTo>
                  <a:lnTo>
                    <a:pt x="360" y="83"/>
                  </a:lnTo>
                  <a:lnTo>
                    <a:pt x="389" y="83"/>
                  </a:lnTo>
                  <a:lnTo>
                    <a:pt x="418" y="83"/>
                  </a:lnTo>
                  <a:lnTo>
                    <a:pt x="448" y="83"/>
                  </a:lnTo>
                  <a:lnTo>
                    <a:pt x="461" y="96"/>
                  </a:lnTo>
                  <a:lnTo>
                    <a:pt x="481" y="83"/>
                  </a:lnTo>
                  <a:lnTo>
                    <a:pt x="477" y="67"/>
                  </a:lnTo>
                  <a:lnTo>
                    <a:pt x="486" y="62"/>
                  </a:lnTo>
                  <a:lnTo>
                    <a:pt x="519" y="52"/>
                  </a:lnTo>
                  <a:lnTo>
                    <a:pt x="533" y="62"/>
                  </a:lnTo>
                  <a:lnTo>
                    <a:pt x="545" y="52"/>
                  </a:lnTo>
                  <a:lnTo>
                    <a:pt x="548" y="52"/>
                  </a:lnTo>
                  <a:lnTo>
                    <a:pt x="562" y="67"/>
                  </a:lnTo>
                  <a:lnTo>
                    <a:pt x="577" y="67"/>
                  </a:lnTo>
                  <a:lnTo>
                    <a:pt x="577" y="83"/>
                  </a:lnTo>
                  <a:lnTo>
                    <a:pt x="607" y="67"/>
                  </a:lnTo>
                  <a:lnTo>
                    <a:pt x="620" y="67"/>
                  </a:lnTo>
                  <a:lnTo>
                    <a:pt x="634" y="67"/>
                  </a:lnTo>
                  <a:lnTo>
                    <a:pt x="663" y="67"/>
                  </a:lnTo>
                  <a:lnTo>
                    <a:pt x="678" y="54"/>
                  </a:lnTo>
                  <a:lnTo>
                    <a:pt x="705" y="54"/>
                  </a:lnTo>
                  <a:lnTo>
                    <a:pt x="735" y="54"/>
                  </a:lnTo>
                  <a:lnTo>
                    <a:pt x="735" y="42"/>
                  </a:lnTo>
                  <a:lnTo>
                    <a:pt x="723" y="25"/>
                  </a:lnTo>
                  <a:lnTo>
                    <a:pt x="723" y="9"/>
                  </a:lnTo>
                  <a:lnTo>
                    <a:pt x="750" y="0"/>
                  </a:lnTo>
                  <a:lnTo>
                    <a:pt x="771" y="9"/>
                  </a:lnTo>
                  <a:lnTo>
                    <a:pt x="779" y="25"/>
                  </a:lnTo>
                  <a:lnTo>
                    <a:pt x="793" y="25"/>
                  </a:lnTo>
                  <a:lnTo>
                    <a:pt x="793" y="40"/>
                  </a:lnTo>
                  <a:lnTo>
                    <a:pt x="793" y="54"/>
                  </a:lnTo>
                  <a:lnTo>
                    <a:pt x="779" y="67"/>
                  </a:lnTo>
                  <a:lnTo>
                    <a:pt x="787" y="83"/>
                  </a:lnTo>
                  <a:lnTo>
                    <a:pt x="766" y="87"/>
                  </a:lnTo>
                  <a:lnTo>
                    <a:pt x="771" y="96"/>
                  </a:lnTo>
                  <a:lnTo>
                    <a:pt x="764" y="126"/>
                  </a:lnTo>
                  <a:lnTo>
                    <a:pt x="750" y="139"/>
                  </a:lnTo>
                  <a:lnTo>
                    <a:pt x="750" y="155"/>
                  </a:lnTo>
                  <a:lnTo>
                    <a:pt x="735" y="170"/>
                  </a:lnTo>
                  <a:lnTo>
                    <a:pt x="721" y="170"/>
                  </a:lnTo>
                  <a:lnTo>
                    <a:pt x="705" y="155"/>
                  </a:lnTo>
                  <a:lnTo>
                    <a:pt x="663" y="155"/>
                  </a:lnTo>
                  <a:lnTo>
                    <a:pt x="634" y="139"/>
                  </a:lnTo>
                  <a:lnTo>
                    <a:pt x="607" y="139"/>
                  </a:lnTo>
                  <a:lnTo>
                    <a:pt x="591" y="139"/>
                  </a:lnTo>
                  <a:lnTo>
                    <a:pt x="607" y="155"/>
                  </a:lnTo>
                  <a:lnTo>
                    <a:pt x="591" y="170"/>
                  </a:lnTo>
                  <a:lnTo>
                    <a:pt x="562" y="170"/>
                  </a:lnTo>
                  <a:lnTo>
                    <a:pt x="548" y="155"/>
                  </a:lnTo>
                  <a:lnTo>
                    <a:pt x="533" y="139"/>
                  </a:lnTo>
                  <a:lnTo>
                    <a:pt x="519" y="155"/>
                  </a:lnTo>
                  <a:lnTo>
                    <a:pt x="519" y="170"/>
                  </a:lnTo>
                  <a:lnTo>
                    <a:pt x="519" y="184"/>
                  </a:lnTo>
                  <a:lnTo>
                    <a:pt x="504" y="184"/>
                  </a:lnTo>
                  <a:lnTo>
                    <a:pt x="461" y="184"/>
                  </a:lnTo>
                  <a:lnTo>
                    <a:pt x="448" y="184"/>
                  </a:lnTo>
                  <a:lnTo>
                    <a:pt x="448" y="197"/>
                  </a:lnTo>
                  <a:lnTo>
                    <a:pt x="461" y="213"/>
                  </a:lnTo>
                  <a:lnTo>
                    <a:pt x="475" y="226"/>
                  </a:lnTo>
                  <a:lnTo>
                    <a:pt x="504" y="242"/>
                  </a:lnTo>
                  <a:lnTo>
                    <a:pt x="533" y="256"/>
                  </a:lnTo>
                  <a:lnTo>
                    <a:pt x="548" y="256"/>
                  </a:lnTo>
                  <a:lnTo>
                    <a:pt x="533" y="271"/>
                  </a:lnTo>
                  <a:lnTo>
                    <a:pt x="504" y="283"/>
                  </a:lnTo>
                  <a:lnTo>
                    <a:pt x="475" y="283"/>
                  </a:lnTo>
                  <a:lnTo>
                    <a:pt x="475" y="256"/>
                  </a:lnTo>
                  <a:lnTo>
                    <a:pt x="461" y="256"/>
                  </a:lnTo>
                  <a:lnTo>
                    <a:pt x="448" y="256"/>
                  </a:lnTo>
                  <a:lnTo>
                    <a:pt x="461" y="271"/>
                  </a:lnTo>
                  <a:lnTo>
                    <a:pt x="475" y="298"/>
                  </a:lnTo>
                  <a:lnTo>
                    <a:pt x="490" y="298"/>
                  </a:lnTo>
                  <a:lnTo>
                    <a:pt x="490" y="312"/>
                  </a:lnTo>
                  <a:lnTo>
                    <a:pt x="448" y="298"/>
                  </a:lnTo>
                  <a:lnTo>
                    <a:pt x="432" y="283"/>
                  </a:lnTo>
                  <a:lnTo>
                    <a:pt x="418" y="271"/>
                  </a:lnTo>
                  <a:lnTo>
                    <a:pt x="403" y="256"/>
                  </a:lnTo>
                  <a:lnTo>
                    <a:pt x="403" y="271"/>
                  </a:lnTo>
                  <a:lnTo>
                    <a:pt x="403" y="283"/>
                  </a:lnTo>
                  <a:lnTo>
                    <a:pt x="418" y="298"/>
                  </a:lnTo>
                  <a:lnTo>
                    <a:pt x="448" y="312"/>
                  </a:lnTo>
                  <a:lnTo>
                    <a:pt x="448" y="327"/>
                  </a:lnTo>
                  <a:lnTo>
                    <a:pt x="418" y="312"/>
                  </a:lnTo>
                  <a:lnTo>
                    <a:pt x="389" y="298"/>
                  </a:lnTo>
                  <a:lnTo>
                    <a:pt x="374" y="271"/>
                  </a:lnTo>
                  <a:lnTo>
                    <a:pt x="360" y="242"/>
                  </a:lnTo>
                  <a:lnTo>
                    <a:pt x="345" y="226"/>
                  </a:lnTo>
                  <a:lnTo>
                    <a:pt x="345" y="197"/>
                  </a:lnTo>
                  <a:lnTo>
                    <a:pt x="331" y="197"/>
                  </a:lnTo>
                  <a:lnTo>
                    <a:pt x="304" y="213"/>
                  </a:lnTo>
                  <a:lnTo>
                    <a:pt x="289" y="226"/>
                  </a:lnTo>
                  <a:lnTo>
                    <a:pt x="304" y="242"/>
                  </a:lnTo>
                  <a:lnTo>
                    <a:pt x="304" y="256"/>
                  </a:lnTo>
                  <a:lnTo>
                    <a:pt x="304" y="271"/>
                  </a:lnTo>
                  <a:lnTo>
                    <a:pt x="304" y="298"/>
                  </a:lnTo>
                  <a:lnTo>
                    <a:pt x="318" y="312"/>
                  </a:lnTo>
                  <a:lnTo>
                    <a:pt x="345" y="327"/>
                  </a:lnTo>
                  <a:lnTo>
                    <a:pt x="360" y="356"/>
                  </a:lnTo>
                  <a:lnTo>
                    <a:pt x="403" y="399"/>
                  </a:lnTo>
                  <a:lnTo>
                    <a:pt x="418" y="399"/>
                  </a:lnTo>
                  <a:lnTo>
                    <a:pt x="403" y="428"/>
                  </a:lnTo>
                  <a:lnTo>
                    <a:pt x="389" y="428"/>
                  </a:lnTo>
                  <a:lnTo>
                    <a:pt x="389" y="415"/>
                  </a:lnTo>
                  <a:lnTo>
                    <a:pt x="389" y="399"/>
                  </a:lnTo>
                  <a:lnTo>
                    <a:pt x="374" y="384"/>
                  </a:lnTo>
                  <a:lnTo>
                    <a:pt x="345" y="384"/>
                  </a:lnTo>
                  <a:lnTo>
                    <a:pt x="331" y="384"/>
                  </a:lnTo>
                  <a:lnTo>
                    <a:pt x="318" y="399"/>
                  </a:lnTo>
                  <a:lnTo>
                    <a:pt x="331" y="428"/>
                  </a:lnTo>
                  <a:lnTo>
                    <a:pt x="345" y="428"/>
                  </a:lnTo>
                  <a:lnTo>
                    <a:pt x="345" y="442"/>
                  </a:lnTo>
                  <a:lnTo>
                    <a:pt x="331" y="457"/>
                  </a:lnTo>
                  <a:lnTo>
                    <a:pt x="318" y="471"/>
                  </a:lnTo>
                  <a:lnTo>
                    <a:pt x="331" y="486"/>
                  </a:lnTo>
                  <a:lnTo>
                    <a:pt x="360" y="486"/>
                  </a:lnTo>
                  <a:lnTo>
                    <a:pt x="389" y="500"/>
                  </a:lnTo>
                  <a:lnTo>
                    <a:pt x="418" y="513"/>
                  </a:lnTo>
                  <a:lnTo>
                    <a:pt x="432" y="513"/>
                  </a:lnTo>
                  <a:lnTo>
                    <a:pt x="448" y="543"/>
                  </a:lnTo>
                  <a:lnTo>
                    <a:pt x="475" y="556"/>
                  </a:lnTo>
                  <a:lnTo>
                    <a:pt x="490" y="556"/>
                  </a:lnTo>
                  <a:lnTo>
                    <a:pt x="490" y="585"/>
                  </a:lnTo>
                  <a:lnTo>
                    <a:pt x="490" y="614"/>
                  </a:lnTo>
                  <a:lnTo>
                    <a:pt x="490" y="628"/>
                  </a:lnTo>
                  <a:lnTo>
                    <a:pt x="490" y="643"/>
                  </a:lnTo>
                  <a:lnTo>
                    <a:pt x="461" y="628"/>
                  </a:lnTo>
                  <a:lnTo>
                    <a:pt x="448" y="601"/>
                  </a:lnTo>
                  <a:lnTo>
                    <a:pt x="432" y="601"/>
                  </a:lnTo>
                  <a:lnTo>
                    <a:pt x="403" y="628"/>
                  </a:lnTo>
                  <a:lnTo>
                    <a:pt x="389" y="643"/>
                  </a:lnTo>
                  <a:lnTo>
                    <a:pt x="389" y="657"/>
                  </a:lnTo>
                  <a:lnTo>
                    <a:pt x="403" y="672"/>
                  </a:lnTo>
                  <a:lnTo>
                    <a:pt x="418" y="672"/>
                  </a:lnTo>
                  <a:lnTo>
                    <a:pt x="448" y="657"/>
                  </a:lnTo>
                  <a:lnTo>
                    <a:pt x="448" y="686"/>
                  </a:lnTo>
                  <a:lnTo>
                    <a:pt x="418" y="702"/>
                  </a:lnTo>
                  <a:lnTo>
                    <a:pt x="389" y="715"/>
                  </a:lnTo>
                  <a:lnTo>
                    <a:pt x="374" y="715"/>
                  </a:lnTo>
                  <a:lnTo>
                    <a:pt x="360" y="702"/>
                  </a:lnTo>
                  <a:lnTo>
                    <a:pt x="360" y="686"/>
                  </a:lnTo>
                  <a:lnTo>
                    <a:pt x="345" y="672"/>
                  </a:lnTo>
                  <a:lnTo>
                    <a:pt x="331" y="672"/>
                  </a:lnTo>
                  <a:lnTo>
                    <a:pt x="331" y="702"/>
                  </a:lnTo>
                  <a:lnTo>
                    <a:pt x="345" y="715"/>
                  </a:lnTo>
                  <a:lnTo>
                    <a:pt x="360" y="742"/>
                  </a:lnTo>
                  <a:lnTo>
                    <a:pt x="374" y="742"/>
                  </a:lnTo>
                  <a:lnTo>
                    <a:pt x="374" y="771"/>
                  </a:lnTo>
                  <a:lnTo>
                    <a:pt x="389" y="787"/>
                  </a:lnTo>
                  <a:lnTo>
                    <a:pt x="389" y="800"/>
                  </a:lnTo>
                  <a:lnTo>
                    <a:pt x="418" y="816"/>
                  </a:lnTo>
                  <a:lnTo>
                    <a:pt x="418" y="830"/>
                  </a:lnTo>
                  <a:lnTo>
                    <a:pt x="360" y="830"/>
                  </a:lnTo>
                  <a:lnTo>
                    <a:pt x="345" y="830"/>
                  </a:lnTo>
                  <a:lnTo>
                    <a:pt x="345" y="800"/>
                  </a:lnTo>
                  <a:lnTo>
                    <a:pt x="331" y="800"/>
                  </a:lnTo>
                  <a:lnTo>
                    <a:pt x="331" y="771"/>
                  </a:lnTo>
                  <a:lnTo>
                    <a:pt x="318" y="787"/>
                  </a:lnTo>
                  <a:lnTo>
                    <a:pt x="318" y="800"/>
                  </a:lnTo>
                  <a:lnTo>
                    <a:pt x="318" y="816"/>
                  </a:lnTo>
                  <a:lnTo>
                    <a:pt x="318" y="843"/>
                  </a:lnTo>
                  <a:lnTo>
                    <a:pt x="304" y="843"/>
                  </a:lnTo>
                  <a:lnTo>
                    <a:pt x="289" y="816"/>
                  </a:lnTo>
                  <a:lnTo>
                    <a:pt x="275" y="816"/>
                  </a:lnTo>
                  <a:lnTo>
                    <a:pt x="259" y="800"/>
                  </a:lnTo>
                  <a:lnTo>
                    <a:pt x="259" y="787"/>
                  </a:lnTo>
                  <a:lnTo>
                    <a:pt x="259" y="771"/>
                  </a:lnTo>
                  <a:lnTo>
                    <a:pt x="259" y="758"/>
                  </a:lnTo>
                  <a:lnTo>
                    <a:pt x="246" y="742"/>
                  </a:lnTo>
                  <a:lnTo>
                    <a:pt x="230" y="758"/>
                  </a:lnTo>
                  <a:lnTo>
                    <a:pt x="230" y="771"/>
                  </a:lnTo>
                  <a:lnTo>
                    <a:pt x="246" y="787"/>
                  </a:lnTo>
                  <a:lnTo>
                    <a:pt x="230" y="800"/>
                  </a:lnTo>
                  <a:lnTo>
                    <a:pt x="215" y="800"/>
                  </a:lnTo>
                  <a:lnTo>
                    <a:pt x="201" y="800"/>
                  </a:lnTo>
                  <a:lnTo>
                    <a:pt x="186" y="771"/>
                  </a:lnTo>
                  <a:lnTo>
                    <a:pt x="186" y="758"/>
                  </a:lnTo>
                  <a:lnTo>
                    <a:pt x="186" y="742"/>
                  </a:lnTo>
                  <a:lnTo>
                    <a:pt x="172" y="731"/>
                  </a:lnTo>
                  <a:lnTo>
                    <a:pt x="186" y="715"/>
                  </a:lnTo>
                  <a:lnTo>
                    <a:pt x="186" y="686"/>
                  </a:lnTo>
                  <a:lnTo>
                    <a:pt x="186" y="672"/>
                  </a:lnTo>
                  <a:lnTo>
                    <a:pt x="172" y="657"/>
                  </a:lnTo>
                  <a:lnTo>
                    <a:pt x="159" y="643"/>
                  </a:lnTo>
                  <a:lnTo>
                    <a:pt x="143" y="643"/>
                  </a:lnTo>
                  <a:lnTo>
                    <a:pt x="129" y="614"/>
                  </a:lnTo>
                  <a:lnTo>
                    <a:pt x="129" y="601"/>
                  </a:lnTo>
                  <a:lnTo>
                    <a:pt x="143" y="585"/>
                  </a:lnTo>
                  <a:lnTo>
                    <a:pt x="159" y="585"/>
                  </a:lnTo>
                  <a:lnTo>
                    <a:pt x="172" y="585"/>
                  </a:lnTo>
                  <a:lnTo>
                    <a:pt x="186" y="585"/>
                  </a:lnTo>
                  <a:lnTo>
                    <a:pt x="201" y="585"/>
                  </a:lnTo>
                  <a:lnTo>
                    <a:pt x="215" y="572"/>
                  </a:lnTo>
                  <a:lnTo>
                    <a:pt x="230" y="572"/>
                  </a:lnTo>
                  <a:lnTo>
                    <a:pt x="246" y="572"/>
                  </a:lnTo>
                  <a:lnTo>
                    <a:pt x="259" y="572"/>
                  </a:lnTo>
                  <a:lnTo>
                    <a:pt x="275" y="572"/>
                  </a:lnTo>
                  <a:lnTo>
                    <a:pt x="275" y="585"/>
                  </a:lnTo>
                  <a:lnTo>
                    <a:pt x="304" y="572"/>
                  </a:lnTo>
                  <a:lnTo>
                    <a:pt x="318" y="585"/>
                  </a:lnTo>
                  <a:lnTo>
                    <a:pt x="318" y="601"/>
                  </a:lnTo>
                  <a:lnTo>
                    <a:pt x="331" y="614"/>
                  </a:lnTo>
                  <a:lnTo>
                    <a:pt x="345" y="601"/>
                  </a:lnTo>
                  <a:lnTo>
                    <a:pt x="360" y="601"/>
                  </a:lnTo>
                  <a:lnTo>
                    <a:pt x="374" y="585"/>
                  </a:lnTo>
                  <a:lnTo>
                    <a:pt x="345" y="572"/>
                  </a:lnTo>
                  <a:lnTo>
                    <a:pt x="331" y="556"/>
                  </a:lnTo>
                  <a:lnTo>
                    <a:pt x="318" y="543"/>
                  </a:lnTo>
                  <a:lnTo>
                    <a:pt x="289" y="543"/>
                  </a:lnTo>
                  <a:lnTo>
                    <a:pt x="289" y="556"/>
                  </a:lnTo>
                  <a:lnTo>
                    <a:pt x="275" y="543"/>
                  </a:lnTo>
                  <a:lnTo>
                    <a:pt x="259" y="529"/>
                  </a:lnTo>
                  <a:lnTo>
                    <a:pt x="230" y="529"/>
                  </a:lnTo>
                  <a:lnTo>
                    <a:pt x="215" y="529"/>
                  </a:lnTo>
                  <a:lnTo>
                    <a:pt x="201" y="529"/>
                  </a:lnTo>
                  <a:lnTo>
                    <a:pt x="172" y="543"/>
                  </a:lnTo>
                  <a:lnTo>
                    <a:pt x="172" y="529"/>
                  </a:lnTo>
                  <a:lnTo>
                    <a:pt x="159" y="529"/>
                  </a:lnTo>
                  <a:lnTo>
                    <a:pt x="143" y="529"/>
                  </a:lnTo>
                  <a:lnTo>
                    <a:pt x="129" y="543"/>
                  </a:lnTo>
                  <a:lnTo>
                    <a:pt x="100" y="529"/>
                  </a:lnTo>
                  <a:lnTo>
                    <a:pt x="85" y="529"/>
                  </a:lnTo>
                  <a:lnTo>
                    <a:pt x="85" y="513"/>
                  </a:lnTo>
                  <a:lnTo>
                    <a:pt x="85" y="500"/>
                  </a:lnTo>
                  <a:lnTo>
                    <a:pt x="71" y="486"/>
                  </a:lnTo>
                  <a:lnTo>
                    <a:pt x="85" y="471"/>
                  </a:lnTo>
                  <a:lnTo>
                    <a:pt x="100" y="471"/>
                  </a:lnTo>
                  <a:lnTo>
                    <a:pt x="129" y="471"/>
                  </a:lnTo>
                  <a:lnTo>
                    <a:pt x="129" y="457"/>
                  </a:lnTo>
                  <a:lnTo>
                    <a:pt x="129" y="442"/>
                  </a:lnTo>
                  <a:lnTo>
                    <a:pt x="116" y="442"/>
                  </a:lnTo>
                  <a:lnTo>
                    <a:pt x="100" y="442"/>
                  </a:lnTo>
                  <a:lnTo>
                    <a:pt x="85" y="442"/>
                  </a:lnTo>
                  <a:lnTo>
                    <a:pt x="71" y="457"/>
                  </a:lnTo>
                  <a:lnTo>
                    <a:pt x="58" y="442"/>
                  </a:lnTo>
                  <a:lnTo>
                    <a:pt x="58" y="415"/>
                  </a:lnTo>
                  <a:lnTo>
                    <a:pt x="58" y="399"/>
                  </a:lnTo>
                  <a:lnTo>
                    <a:pt x="29" y="399"/>
                  </a:lnTo>
                  <a:lnTo>
                    <a:pt x="15" y="384"/>
                  </a:lnTo>
                  <a:lnTo>
                    <a:pt x="0" y="356"/>
                  </a:lnTo>
                  <a:lnTo>
                    <a:pt x="15" y="356"/>
                  </a:lnTo>
                  <a:lnTo>
                    <a:pt x="15" y="341"/>
                  </a:lnTo>
                  <a:lnTo>
                    <a:pt x="15" y="327"/>
                  </a:lnTo>
                  <a:lnTo>
                    <a:pt x="29" y="312"/>
                  </a:lnTo>
                  <a:lnTo>
                    <a:pt x="44" y="312"/>
                  </a:lnTo>
                  <a:lnTo>
                    <a:pt x="71" y="298"/>
                  </a:lnTo>
                  <a:lnTo>
                    <a:pt x="58" y="283"/>
                  </a:lnTo>
                  <a:lnTo>
                    <a:pt x="71" y="283"/>
                  </a:lnTo>
                  <a:lnTo>
                    <a:pt x="85" y="271"/>
                  </a:lnTo>
                  <a:lnTo>
                    <a:pt x="100" y="242"/>
                  </a:lnTo>
                  <a:lnTo>
                    <a:pt x="116" y="226"/>
                  </a:lnTo>
                  <a:lnTo>
                    <a:pt x="116" y="213"/>
                  </a:lnTo>
                  <a:lnTo>
                    <a:pt x="116" y="197"/>
                  </a:lnTo>
                  <a:lnTo>
                    <a:pt x="100" y="184"/>
                  </a:lnTo>
                  <a:lnTo>
                    <a:pt x="85" y="170"/>
                  </a:lnTo>
                  <a:lnTo>
                    <a:pt x="100" y="155"/>
                  </a:lnTo>
                  <a:lnTo>
                    <a:pt x="116" y="155"/>
                  </a:lnTo>
                  <a:lnTo>
                    <a:pt x="116" y="139"/>
                  </a:lnTo>
                  <a:lnTo>
                    <a:pt x="129" y="155"/>
                  </a:lnTo>
                  <a:lnTo>
                    <a:pt x="159" y="155"/>
                  </a:lnTo>
                  <a:lnTo>
                    <a:pt x="172" y="155"/>
                  </a:lnTo>
                  <a:lnTo>
                    <a:pt x="201" y="139"/>
                  </a:lnTo>
                  <a:lnTo>
                    <a:pt x="230" y="139"/>
                  </a:lnTo>
                  <a:lnTo>
                    <a:pt x="246" y="126"/>
                  </a:lnTo>
                  <a:lnTo>
                    <a:pt x="259" y="112"/>
                  </a:lnTo>
                  <a:lnTo>
                    <a:pt x="275" y="126"/>
                  </a:lnTo>
                  <a:lnTo>
                    <a:pt x="289" y="126"/>
                  </a:lnTo>
                  <a:lnTo>
                    <a:pt x="304" y="126"/>
                  </a:lnTo>
                  <a:lnTo>
                    <a:pt x="318" y="112"/>
                  </a:lnTo>
                  <a:lnTo>
                    <a:pt x="331" y="96"/>
                  </a:lnTo>
                  <a:lnTo>
                    <a:pt x="360" y="83"/>
                  </a:lnTo>
                  <a:lnTo>
                    <a:pt x="331" y="83"/>
                  </a:lnTo>
                  <a:close/>
                </a:path>
              </a:pathLst>
            </a:custGeom>
            <a:grpFill/>
            <a:ln w="3175" cmpd="sng">
              <a:solidFill>
                <a:schemeClr val="bg1"/>
              </a:solidFill>
              <a:round/>
              <a:headEnd/>
              <a:tailEnd/>
            </a:ln>
          </p:spPr>
          <p:txBody>
            <a:bodyPr/>
            <a:lstStyle/>
            <a:p>
              <a:endParaRPr lang="da-DK"/>
            </a:p>
          </p:txBody>
        </p:sp>
        <p:sp>
          <p:nvSpPr>
            <p:cNvPr id="23" name="Freeform 1059">
              <a:extLst>
                <a:ext uri="{FF2B5EF4-FFF2-40B4-BE49-F238E27FC236}">
                  <a16:creationId xmlns:a16="http://schemas.microsoft.com/office/drawing/2014/main" id="{70FE7621-D416-286C-F43A-FCA83D242088}"/>
                </a:ext>
              </a:extLst>
            </p:cNvPr>
            <p:cNvSpPr>
              <a:spLocks/>
            </p:cNvSpPr>
            <p:nvPr>
              <p:custDataLst>
                <p:tags r:id="rId2"/>
              </p:custDataLst>
            </p:nvPr>
          </p:nvSpPr>
          <p:spPr bwMode="auto">
            <a:xfrm>
              <a:off x="4910415" y="5766019"/>
              <a:ext cx="440531" cy="254039"/>
            </a:xfrm>
            <a:custGeom>
              <a:avLst/>
              <a:gdLst>
                <a:gd name="T0" fmla="*/ 476250 w 403"/>
                <a:gd name="T1" fmla="*/ 13838 h 258"/>
                <a:gd name="T2" fmla="*/ 476250 w 403"/>
                <a:gd name="T3" fmla="*/ 30870 h 258"/>
                <a:gd name="T4" fmla="*/ 476250 w 403"/>
                <a:gd name="T5" fmla="*/ 44708 h 258"/>
                <a:gd name="T6" fmla="*/ 460887 w 403"/>
                <a:gd name="T7" fmla="*/ 75578 h 258"/>
                <a:gd name="T8" fmla="*/ 444342 w 403"/>
                <a:gd name="T9" fmla="*/ 75578 h 258"/>
                <a:gd name="T10" fmla="*/ 426616 w 403"/>
                <a:gd name="T11" fmla="*/ 90481 h 258"/>
                <a:gd name="T12" fmla="*/ 426616 w 403"/>
                <a:gd name="T13" fmla="*/ 106448 h 258"/>
                <a:gd name="T14" fmla="*/ 426616 w 403"/>
                <a:gd name="T15" fmla="*/ 121351 h 258"/>
                <a:gd name="T16" fmla="*/ 426616 w 403"/>
                <a:gd name="T17" fmla="*/ 136254 h 258"/>
                <a:gd name="T18" fmla="*/ 410071 w 403"/>
                <a:gd name="T19" fmla="*/ 152221 h 258"/>
                <a:gd name="T20" fmla="*/ 410071 w 403"/>
                <a:gd name="T21" fmla="*/ 167124 h 258"/>
                <a:gd name="T22" fmla="*/ 410071 w 403"/>
                <a:gd name="T23" fmla="*/ 183091 h 258"/>
                <a:gd name="T24" fmla="*/ 426616 w 403"/>
                <a:gd name="T25" fmla="*/ 183091 h 258"/>
                <a:gd name="T26" fmla="*/ 410071 w 403"/>
                <a:gd name="T27" fmla="*/ 197994 h 258"/>
                <a:gd name="T28" fmla="*/ 426616 w 403"/>
                <a:gd name="T29" fmla="*/ 197994 h 258"/>
                <a:gd name="T30" fmla="*/ 426616 w 403"/>
                <a:gd name="T31" fmla="*/ 228864 h 258"/>
                <a:gd name="T32" fmla="*/ 392345 w 403"/>
                <a:gd name="T33" fmla="*/ 242702 h 258"/>
                <a:gd name="T34" fmla="*/ 392345 w 403"/>
                <a:gd name="T35" fmla="*/ 274637 h 258"/>
                <a:gd name="T36" fmla="*/ 356892 w 403"/>
                <a:gd name="T37" fmla="*/ 259734 h 258"/>
                <a:gd name="T38" fmla="*/ 341529 w 403"/>
                <a:gd name="T39" fmla="*/ 274637 h 258"/>
                <a:gd name="T40" fmla="*/ 307258 w 403"/>
                <a:gd name="T41" fmla="*/ 259734 h 258"/>
                <a:gd name="T42" fmla="*/ 288350 w 403"/>
                <a:gd name="T43" fmla="*/ 228864 h 258"/>
                <a:gd name="T44" fmla="*/ 288350 w 403"/>
                <a:gd name="T45" fmla="*/ 211832 h 258"/>
                <a:gd name="T46" fmla="*/ 254079 w 403"/>
                <a:gd name="T47" fmla="*/ 197994 h 258"/>
                <a:gd name="T48" fmla="*/ 222171 w 403"/>
                <a:gd name="T49" fmla="*/ 197994 h 258"/>
                <a:gd name="T50" fmla="*/ 205627 w 403"/>
                <a:gd name="T51" fmla="*/ 183091 h 258"/>
                <a:gd name="T52" fmla="*/ 171355 w 403"/>
                <a:gd name="T53" fmla="*/ 183091 h 258"/>
                <a:gd name="T54" fmla="*/ 153629 w 403"/>
                <a:gd name="T55" fmla="*/ 152221 h 258"/>
                <a:gd name="T56" fmla="*/ 137084 w 403"/>
                <a:gd name="T57" fmla="*/ 136254 h 258"/>
                <a:gd name="T58" fmla="*/ 87450 w 403"/>
                <a:gd name="T59" fmla="*/ 121351 h 258"/>
                <a:gd name="T60" fmla="*/ 68542 w 403"/>
                <a:gd name="T61" fmla="*/ 106448 h 258"/>
                <a:gd name="T62" fmla="*/ 53179 w 403"/>
                <a:gd name="T63" fmla="*/ 106448 h 258"/>
                <a:gd name="T64" fmla="*/ 16545 w 403"/>
                <a:gd name="T65" fmla="*/ 90481 h 258"/>
                <a:gd name="T66" fmla="*/ 0 w 403"/>
                <a:gd name="T67" fmla="*/ 75578 h 258"/>
                <a:gd name="T68" fmla="*/ 0 w 403"/>
                <a:gd name="T69" fmla="*/ 61740 h 258"/>
                <a:gd name="T70" fmla="*/ 16545 w 403"/>
                <a:gd name="T71" fmla="*/ 44708 h 258"/>
                <a:gd name="T72" fmla="*/ 16545 w 403"/>
                <a:gd name="T73" fmla="*/ 13838 h 258"/>
                <a:gd name="T74" fmla="*/ 34271 w 403"/>
                <a:gd name="T75" fmla="*/ 13838 h 258"/>
                <a:gd name="T76" fmla="*/ 53179 w 403"/>
                <a:gd name="T77" fmla="*/ 0 h 258"/>
                <a:gd name="T78" fmla="*/ 68542 w 403"/>
                <a:gd name="T79" fmla="*/ 13838 h 258"/>
                <a:gd name="T80" fmla="*/ 68542 w 403"/>
                <a:gd name="T81" fmla="*/ 30870 h 258"/>
                <a:gd name="T82" fmla="*/ 102813 w 403"/>
                <a:gd name="T83" fmla="*/ 13838 h 258"/>
                <a:gd name="T84" fmla="*/ 137084 w 403"/>
                <a:gd name="T85" fmla="*/ 13838 h 258"/>
                <a:gd name="T86" fmla="*/ 153629 w 403"/>
                <a:gd name="T87" fmla="*/ 30870 h 258"/>
                <a:gd name="T88" fmla="*/ 187900 w 403"/>
                <a:gd name="T89" fmla="*/ 44708 h 258"/>
                <a:gd name="T90" fmla="*/ 222171 w 403"/>
                <a:gd name="T91" fmla="*/ 61740 h 258"/>
                <a:gd name="T92" fmla="*/ 254079 w 403"/>
                <a:gd name="T93" fmla="*/ 61740 h 258"/>
                <a:gd name="T94" fmla="*/ 288350 w 403"/>
                <a:gd name="T95" fmla="*/ 44708 h 258"/>
                <a:gd name="T96" fmla="*/ 307258 w 403"/>
                <a:gd name="T97" fmla="*/ 44708 h 258"/>
                <a:gd name="T98" fmla="*/ 322621 w 403"/>
                <a:gd name="T99" fmla="*/ 44708 h 258"/>
                <a:gd name="T100" fmla="*/ 341529 w 403"/>
                <a:gd name="T101" fmla="*/ 44708 h 258"/>
                <a:gd name="T102" fmla="*/ 356892 w 403"/>
                <a:gd name="T103" fmla="*/ 30870 h 258"/>
                <a:gd name="T104" fmla="*/ 375800 w 403"/>
                <a:gd name="T105" fmla="*/ 30870 h 258"/>
                <a:gd name="T106" fmla="*/ 392345 w 403"/>
                <a:gd name="T107" fmla="*/ 44708 h 258"/>
                <a:gd name="T108" fmla="*/ 410071 w 403"/>
                <a:gd name="T109" fmla="*/ 30870 h 258"/>
                <a:gd name="T110" fmla="*/ 444342 w 403"/>
                <a:gd name="T111" fmla="*/ 30870 h 258"/>
                <a:gd name="T112" fmla="*/ 476250 w 403"/>
                <a:gd name="T113" fmla="*/ 13838 h 258"/>
                <a:gd name="T114" fmla="*/ 476250 w 403"/>
                <a:gd name="T115" fmla="*/ 13838 h 258"/>
                <a:gd name="T116" fmla="*/ 476250 w 403"/>
                <a:gd name="T117" fmla="*/ 13838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close/>
                </a:path>
              </a:pathLst>
            </a:custGeom>
            <a:grpFill/>
            <a:ln w="3175" cmpd="sng">
              <a:solidFill>
                <a:schemeClr val="bg1"/>
              </a:solidFill>
              <a:round/>
              <a:headEnd/>
              <a:tailEnd/>
            </a:ln>
          </p:spPr>
          <p:txBody>
            <a:bodyPr/>
            <a:lstStyle/>
            <a:p>
              <a:endParaRPr lang="da-DK"/>
            </a:p>
          </p:txBody>
        </p:sp>
        <p:sp>
          <p:nvSpPr>
            <p:cNvPr id="24" name="Freeform 1029">
              <a:extLst>
                <a:ext uri="{FF2B5EF4-FFF2-40B4-BE49-F238E27FC236}">
                  <a16:creationId xmlns:a16="http://schemas.microsoft.com/office/drawing/2014/main" id="{417373E6-7462-CCC1-11AF-4E966D83BFC9}"/>
                </a:ext>
              </a:extLst>
            </p:cNvPr>
            <p:cNvSpPr>
              <a:spLocks/>
            </p:cNvSpPr>
            <p:nvPr>
              <p:custDataLst>
                <p:tags r:id="rId3"/>
              </p:custDataLst>
            </p:nvPr>
          </p:nvSpPr>
          <p:spPr bwMode="auto">
            <a:xfrm>
              <a:off x="4651970" y="795357"/>
              <a:ext cx="2001480" cy="1935401"/>
            </a:xfrm>
            <a:custGeom>
              <a:avLst/>
              <a:gdLst>
                <a:gd name="T0" fmla="*/ 629672 w 1835"/>
                <a:gd name="T1" fmla="*/ 1925237 h 1966"/>
                <a:gd name="T2" fmla="*/ 748768 w 1835"/>
                <a:gd name="T3" fmla="*/ 1789012 h 1966"/>
                <a:gd name="T4" fmla="*/ 785322 w 1835"/>
                <a:gd name="T5" fmla="*/ 1588932 h 1966"/>
                <a:gd name="T6" fmla="*/ 766455 w 1835"/>
                <a:gd name="T7" fmla="*/ 1435680 h 1966"/>
                <a:gd name="T8" fmla="*/ 785322 w 1835"/>
                <a:gd name="T9" fmla="*/ 1237728 h 1966"/>
                <a:gd name="T10" fmla="*/ 938613 w 1835"/>
                <a:gd name="T11" fmla="*/ 1193030 h 1966"/>
                <a:gd name="T12" fmla="*/ 970450 w 1835"/>
                <a:gd name="T13" fmla="*/ 1039777 h 1966"/>
                <a:gd name="T14" fmla="*/ 1056529 w 1835"/>
                <a:gd name="T15" fmla="*/ 839697 h 1966"/>
                <a:gd name="T16" fmla="*/ 1192133 w 1835"/>
                <a:gd name="T17" fmla="*/ 686444 h 1966"/>
                <a:gd name="T18" fmla="*/ 1277032 w 1835"/>
                <a:gd name="T19" fmla="*/ 534256 h 1966"/>
                <a:gd name="T20" fmla="*/ 1394948 w 1835"/>
                <a:gd name="T21" fmla="*/ 488493 h 1966"/>
                <a:gd name="T22" fmla="*/ 1496356 w 1835"/>
                <a:gd name="T23" fmla="*/ 336305 h 1966"/>
                <a:gd name="T24" fmla="*/ 1633139 w 1835"/>
                <a:gd name="T25" fmla="*/ 426766 h 1966"/>
                <a:gd name="T26" fmla="*/ 1805297 w 1835"/>
                <a:gd name="T27" fmla="*/ 381003 h 1966"/>
                <a:gd name="T28" fmla="*/ 1889017 w 1835"/>
                <a:gd name="T29" fmla="*/ 213915 h 1966"/>
                <a:gd name="T30" fmla="*/ 2042308 w 1835"/>
                <a:gd name="T31" fmla="*/ 259678 h 1966"/>
                <a:gd name="T32" fmla="*/ 2042308 w 1835"/>
                <a:gd name="T33" fmla="*/ 365039 h 1966"/>
                <a:gd name="T34" fmla="*/ 2109521 w 1835"/>
                <a:gd name="T35" fmla="*/ 197951 h 1966"/>
                <a:gd name="T36" fmla="*/ 2124850 w 1835"/>
                <a:gd name="T37" fmla="*/ 90462 h 1966"/>
                <a:gd name="T38" fmla="*/ 1971559 w 1835"/>
                <a:gd name="T39" fmla="*/ 90462 h 1966"/>
                <a:gd name="T40" fmla="*/ 1905526 w 1835"/>
                <a:gd name="T41" fmla="*/ 30863 h 1966"/>
                <a:gd name="T42" fmla="*/ 1837134 w 1835"/>
                <a:gd name="T43" fmla="*/ 59598 h 1966"/>
                <a:gd name="T44" fmla="*/ 1768743 w 1835"/>
                <a:gd name="T45" fmla="*/ 152188 h 1966"/>
                <a:gd name="T46" fmla="*/ 1818268 w 1835"/>
                <a:gd name="T47" fmla="*/ 0 h 1966"/>
                <a:gd name="T48" fmla="*/ 1683843 w 1835"/>
                <a:gd name="T49" fmla="*/ 74498 h 1966"/>
                <a:gd name="T50" fmla="*/ 1617810 w 1835"/>
                <a:gd name="T51" fmla="*/ 167088 h 1966"/>
                <a:gd name="T52" fmla="*/ 1514044 w 1835"/>
                <a:gd name="T53" fmla="*/ 197951 h 1966"/>
                <a:gd name="T54" fmla="*/ 1445652 w 1835"/>
                <a:gd name="T55" fmla="*/ 259678 h 1966"/>
                <a:gd name="T56" fmla="*/ 1377261 w 1835"/>
                <a:gd name="T57" fmla="*/ 305441 h 1966"/>
                <a:gd name="T58" fmla="*/ 1292361 w 1835"/>
                <a:gd name="T59" fmla="*/ 381003 h 1966"/>
                <a:gd name="T60" fmla="*/ 1207462 w 1835"/>
                <a:gd name="T61" fmla="*/ 488493 h 1966"/>
                <a:gd name="T62" fmla="*/ 1173266 w 1835"/>
                <a:gd name="T63" fmla="*/ 519356 h 1966"/>
                <a:gd name="T64" fmla="*/ 1139070 w 1835"/>
                <a:gd name="T65" fmla="*/ 565119 h 1966"/>
                <a:gd name="T66" fmla="*/ 1123741 w 1835"/>
                <a:gd name="T67" fmla="*/ 595983 h 1966"/>
                <a:gd name="T68" fmla="*/ 1070679 w 1835"/>
                <a:gd name="T69" fmla="*/ 670481 h 1966"/>
                <a:gd name="T70" fmla="*/ 951584 w 1835"/>
                <a:gd name="T71" fmla="*/ 732207 h 1966"/>
                <a:gd name="T72" fmla="*/ 951584 w 1835"/>
                <a:gd name="T73" fmla="*/ 824797 h 1966"/>
                <a:gd name="T74" fmla="*/ 848997 w 1835"/>
                <a:gd name="T75" fmla="*/ 901424 h 1966"/>
                <a:gd name="T76" fmla="*/ 832488 w 1835"/>
                <a:gd name="T77" fmla="*/ 961022 h 1966"/>
                <a:gd name="T78" fmla="*/ 782963 w 1835"/>
                <a:gd name="T79" fmla="*/ 1068512 h 1966"/>
                <a:gd name="T80" fmla="*/ 679197 w 1835"/>
                <a:gd name="T81" fmla="*/ 1099375 h 1966"/>
                <a:gd name="T82" fmla="*/ 578968 w 1835"/>
                <a:gd name="T83" fmla="*/ 1193030 h 1966"/>
                <a:gd name="T84" fmla="*/ 459873 w 1835"/>
                <a:gd name="T85" fmla="*/ 1252628 h 1966"/>
                <a:gd name="T86" fmla="*/ 391482 w 1835"/>
                <a:gd name="T87" fmla="*/ 1298391 h 1966"/>
                <a:gd name="T88" fmla="*/ 288895 w 1835"/>
                <a:gd name="T89" fmla="*/ 1329254 h 1966"/>
                <a:gd name="T90" fmla="*/ 203995 w 1835"/>
                <a:gd name="T91" fmla="*/ 1373953 h 1966"/>
                <a:gd name="T92" fmla="*/ 135604 w 1835"/>
                <a:gd name="T93" fmla="*/ 1419716 h 1966"/>
                <a:gd name="T94" fmla="*/ 101408 w 1835"/>
                <a:gd name="T95" fmla="*/ 1498471 h 1966"/>
                <a:gd name="T96" fmla="*/ 67212 w 1835"/>
                <a:gd name="T97" fmla="*/ 1541041 h 1966"/>
                <a:gd name="T98" fmla="*/ 50704 w 1835"/>
                <a:gd name="T99" fmla="*/ 1650659 h 1966"/>
                <a:gd name="T100" fmla="*/ 153291 w 1835"/>
                <a:gd name="T101" fmla="*/ 1696422 h 1966"/>
                <a:gd name="T102" fmla="*/ 50704 w 1835"/>
                <a:gd name="T103" fmla="*/ 1789012 h 1966"/>
                <a:gd name="T104" fmla="*/ 84900 w 1835"/>
                <a:gd name="T105" fmla="*/ 1848611 h 1966"/>
                <a:gd name="T106" fmla="*/ 34196 w 1835"/>
                <a:gd name="T107" fmla="*/ 1971000 h 1966"/>
                <a:gd name="T108" fmla="*/ 185128 w 1835"/>
                <a:gd name="T109" fmla="*/ 2092325 h 1966"/>
                <a:gd name="T110" fmla="*/ 391482 w 1835"/>
                <a:gd name="T111" fmla="*/ 2001863 h 1966"/>
                <a:gd name="T112" fmla="*/ 525906 w 1835"/>
                <a:gd name="T113" fmla="*/ 1925237 h 1966"/>
                <a:gd name="T114" fmla="*/ 578968 w 1835"/>
                <a:gd name="T115" fmla="*/ 1863510 h 19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close/>
                </a:path>
              </a:pathLst>
            </a:custGeom>
            <a:grpFill/>
            <a:ln w="3175" cmpd="sng">
              <a:solidFill>
                <a:schemeClr val="bg1"/>
              </a:solidFill>
              <a:round/>
              <a:headEnd/>
              <a:tailEnd/>
            </a:ln>
          </p:spPr>
          <p:txBody>
            <a:bodyPr/>
            <a:lstStyle/>
            <a:p>
              <a:endParaRPr lang="da-DK"/>
            </a:p>
          </p:txBody>
        </p:sp>
        <p:grpSp>
          <p:nvGrpSpPr>
            <p:cNvPr id="25" name="Group 1032">
              <a:extLst>
                <a:ext uri="{FF2B5EF4-FFF2-40B4-BE49-F238E27FC236}">
                  <a16:creationId xmlns:a16="http://schemas.microsoft.com/office/drawing/2014/main" id="{8025BDF1-55F9-EBDA-67A8-BAEC14AF5797}"/>
                </a:ext>
              </a:extLst>
            </p:cNvPr>
            <p:cNvGrpSpPr>
              <a:grpSpLocks/>
            </p:cNvGrpSpPr>
            <p:nvPr>
              <p:custDataLst>
                <p:tags r:id="rId4"/>
              </p:custDataLst>
            </p:nvPr>
          </p:nvGrpSpPr>
          <p:grpSpPr bwMode="auto">
            <a:xfrm>
              <a:off x="5343605" y="3224153"/>
              <a:ext cx="1114545" cy="944206"/>
              <a:chOff x="3047" y="1990"/>
              <a:chExt cx="894" cy="757"/>
            </a:xfrm>
            <a:grpFill/>
          </p:grpSpPr>
          <p:sp>
            <p:nvSpPr>
              <p:cNvPr id="103" name="Freeform 1033">
                <a:extLst>
                  <a:ext uri="{FF2B5EF4-FFF2-40B4-BE49-F238E27FC236}">
                    <a16:creationId xmlns:a16="http://schemas.microsoft.com/office/drawing/2014/main" id="{69FA6DA0-D9DE-288A-D016-485B95B0C1D8}"/>
                  </a:ext>
                </a:extLst>
              </p:cNvPr>
              <p:cNvSpPr>
                <a:spLocks/>
              </p:cNvSpPr>
              <p:nvPr/>
            </p:nvSpPr>
            <p:spPr bwMode="auto">
              <a:xfrm>
                <a:off x="3047" y="1990"/>
                <a:ext cx="894" cy="757"/>
              </a:xfrm>
              <a:custGeom>
                <a:avLst/>
                <a:gdLst>
                  <a:gd name="T0" fmla="*/ 63 w 1022"/>
                  <a:gd name="T1" fmla="*/ 207 h 958"/>
                  <a:gd name="T2" fmla="*/ 77 w 1022"/>
                  <a:gd name="T3" fmla="*/ 150 h 958"/>
                  <a:gd name="T4" fmla="*/ 153 w 1022"/>
                  <a:gd name="T5" fmla="*/ 138 h 958"/>
                  <a:gd name="T6" fmla="*/ 191 w 1022"/>
                  <a:gd name="T7" fmla="*/ 117 h 958"/>
                  <a:gd name="T8" fmla="*/ 241 w 1022"/>
                  <a:gd name="T9" fmla="*/ 94 h 958"/>
                  <a:gd name="T10" fmla="*/ 278 w 1022"/>
                  <a:gd name="T11" fmla="*/ 71 h 958"/>
                  <a:gd name="T12" fmla="*/ 341 w 1022"/>
                  <a:gd name="T13" fmla="*/ 60 h 958"/>
                  <a:gd name="T14" fmla="*/ 390 w 1022"/>
                  <a:gd name="T15" fmla="*/ 94 h 958"/>
                  <a:gd name="T16" fmla="*/ 444 w 1022"/>
                  <a:gd name="T17" fmla="*/ 117 h 958"/>
                  <a:gd name="T18" fmla="*/ 492 w 1022"/>
                  <a:gd name="T19" fmla="*/ 127 h 958"/>
                  <a:gd name="T20" fmla="*/ 506 w 1022"/>
                  <a:gd name="T21" fmla="*/ 94 h 958"/>
                  <a:gd name="T22" fmla="*/ 520 w 1022"/>
                  <a:gd name="T23" fmla="*/ 48 h 958"/>
                  <a:gd name="T24" fmla="*/ 556 w 1022"/>
                  <a:gd name="T25" fmla="*/ 37 h 958"/>
                  <a:gd name="T26" fmla="*/ 608 w 1022"/>
                  <a:gd name="T27" fmla="*/ 16 h 958"/>
                  <a:gd name="T28" fmla="*/ 626 w 1022"/>
                  <a:gd name="T29" fmla="*/ 0 h 958"/>
                  <a:gd name="T30" fmla="*/ 657 w 1022"/>
                  <a:gd name="T31" fmla="*/ 23 h 958"/>
                  <a:gd name="T32" fmla="*/ 742 w 1022"/>
                  <a:gd name="T33" fmla="*/ 8 h 958"/>
                  <a:gd name="T34" fmla="*/ 753 w 1022"/>
                  <a:gd name="T35" fmla="*/ 73 h 958"/>
                  <a:gd name="T36" fmla="*/ 776 w 1022"/>
                  <a:gd name="T37" fmla="*/ 100 h 958"/>
                  <a:gd name="T38" fmla="*/ 827 w 1022"/>
                  <a:gd name="T39" fmla="*/ 166 h 958"/>
                  <a:gd name="T40" fmla="*/ 863 w 1022"/>
                  <a:gd name="T41" fmla="*/ 241 h 958"/>
                  <a:gd name="T42" fmla="*/ 816 w 1022"/>
                  <a:gd name="T43" fmla="*/ 348 h 958"/>
                  <a:gd name="T44" fmla="*/ 840 w 1022"/>
                  <a:gd name="T45" fmla="*/ 409 h 958"/>
                  <a:gd name="T46" fmla="*/ 835 w 1022"/>
                  <a:gd name="T47" fmla="*/ 465 h 958"/>
                  <a:gd name="T48" fmla="*/ 876 w 1022"/>
                  <a:gd name="T49" fmla="*/ 523 h 958"/>
                  <a:gd name="T50" fmla="*/ 886 w 1022"/>
                  <a:gd name="T51" fmla="*/ 582 h 958"/>
                  <a:gd name="T52" fmla="*/ 813 w 1022"/>
                  <a:gd name="T53" fmla="*/ 621 h 958"/>
                  <a:gd name="T54" fmla="*/ 772 w 1022"/>
                  <a:gd name="T55" fmla="*/ 672 h 958"/>
                  <a:gd name="T56" fmla="*/ 762 w 1022"/>
                  <a:gd name="T57" fmla="*/ 729 h 958"/>
                  <a:gd name="T58" fmla="*/ 733 w 1022"/>
                  <a:gd name="T59" fmla="*/ 740 h 958"/>
                  <a:gd name="T60" fmla="*/ 682 w 1022"/>
                  <a:gd name="T61" fmla="*/ 717 h 958"/>
                  <a:gd name="T62" fmla="*/ 633 w 1022"/>
                  <a:gd name="T63" fmla="*/ 695 h 958"/>
                  <a:gd name="T64" fmla="*/ 583 w 1022"/>
                  <a:gd name="T65" fmla="*/ 684 h 958"/>
                  <a:gd name="T66" fmla="*/ 520 w 1022"/>
                  <a:gd name="T67" fmla="*/ 695 h 958"/>
                  <a:gd name="T68" fmla="*/ 492 w 1022"/>
                  <a:gd name="T69" fmla="*/ 684 h 958"/>
                  <a:gd name="T70" fmla="*/ 444 w 1022"/>
                  <a:gd name="T71" fmla="*/ 695 h 958"/>
                  <a:gd name="T72" fmla="*/ 381 w 1022"/>
                  <a:gd name="T73" fmla="*/ 661 h 958"/>
                  <a:gd name="T74" fmla="*/ 292 w 1022"/>
                  <a:gd name="T75" fmla="*/ 604 h 958"/>
                  <a:gd name="T76" fmla="*/ 227 w 1022"/>
                  <a:gd name="T77" fmla="*/ 604 h 958"/>
                  <a:gd name="T78" fmla="*/ 216 w 1022"/>
                  <a:gd name="T79" fmla="*/ 638 h 958"/>
                  <a:gd name="T80" fmla="*/ 177 w 1022"/>
                  <a:gd name="T81" fmla="*/ 593 h 958"/>
                  <a:gd name="T82" fmla="*/ 128 w 1022"/>
                  <a:gd name="T83" fmla="*/ 559 h 958"/>
                  <a:gd name="T84" fmla="*/ 88 w 1022"/>
                  <a:gd name="T85" fmla="*/ 537 h 958"/>
                  <a:gd name="T86" fmla="*/ 58 w 1022"/>
                  <a:gd name="T87" fmla="*/ 504 h 958"/>
                  <a:gd name="T88" fmla="*/ 63 w 1022"/>
                  <a:gd name="T89" fmla="*/ 457 h 958"/>
                  <a:gd name="T90" fmla="*/ 52 w 1022"/>
                  <a:gd name="T91" fmla="*/ 401 h 958"/>
                  <a:gd name="T92" fmla="*/ 39 w 1022"/>
                  <a:gd name="T93" fmla="*/ 344 h 958"/>
                  <a:gd name="T94" fmla="*/ 25 w 1022"/>
                  <a:gd name="T95" fmla="*/ 310 h 958"/>
                  <a:gd name="T96" fmla="*/ 25 w 1022"/>
                  <a:gd name="T97" fmla="*/ 251 h 958"/>
                  <a:gd name="T98" fmla="*/ 25 w 1022"/>
                  <a:gd name="T99" fmla="*/ 207 h 9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22" h="958">
                    <a:moveTo>
                      <a:pt x="31" y="241"/>
                    </a:moveTo>
                    <a:lnTo>
                      <a:pt x="47" y="260"/>
                    </a:lnTo>
                    <a:lnTo>
                      <a:pt x="70" y="260"/>
                    </a:lnTo>
                    <a:lnTo>
                      <a:pt x="72" y="262"/>
                    </a:lnTo>
                    <a:lnTo>
                      <a:pt x="72" y="247"/>
                    </a:lnTo>
                    <a:lnTo>
                      <a:pt x="59" y="233"/>
                    </a:lnTo>
                    <a:lnTo>
                      <a:pt x="72" y="220"/>
                    </a:lnTo>
                    <a:lnTo>
                      <a:pt x="88" y="190"/>
                    </a:lnTo>
                    <a:lnTo>
                      <a:pt x="117" y="175"/>
                    </a:lnTo>
                    <a:lnTo>
                      <a:pt x="130" y="175"/>
                    </a:lnTo>
                    <a:lnTo>
                      <a:pt x="159" y="175"/>
                    </a:lnTo>
                    <a:lnTo>
                      <a:pt x="175" y="175"/>
                    </a:lnTo>
                    <a:lnTo>
                      <a:pt x="175" y="161"/>
                    </a:lnTo>
                    <a:lnTo>
                      <a:pt x="188" y="161"/>
                    </a:lnTo>
                    <a:lnTo>
                      <a:pt x="202" y="148"/>
                    </a:lnTo>
                    <a:lnTo>
                      <a:pt x="218" y="148"/>
                    </a:lnTo>
                    <a:lnTo>
                      <a:pt x="231" y="134"/>
                    </a:lnTo>
                    <a:lnTo>
                      <a:pt x="247" y="119"/>
                    </a:lnTo>
                    <a:lnTo>
                      <a:pt x="260" y="103"/>
                    </a:lnTo>
                    <a:lnTo>
                      <a:pt x="276" y="119"/>
                    </a:lnTo>
                    <a:lnTo>
                      <a:pt x="289" y="103"/>
                    </a:lnTo>
                    <a:lnTo>
                      <a:pt x="305" y="103"/>
                    </a:lnTo>
                    <a:lnTo>
                      <a:pt x="305" y="90"/>
                    </a:lnTo>
                    <a:lnTo>
                      <a:pt x="318" y="90"/>
                    </a:lnTo>
                    <a:lnTo>
                      <a:pt x="334" y="76"/>
                    </a:lnTo>
                    <a:lnTo>
                      <a:pt x="361" y="90"/>
                    </a:lnTo>
                    <a:lnTo>
                      <a:pt x="377" y="90"/>
                    </a:lnTo>
                    <a:lnTo>
                      <a:pt x="390" y="76"/>
                    </a:lnTo>
                    <a:lnTo>
                      <a:pt x="435" y="76"/>
                    </a:lnTo>
                    <a:lnTo>
                      <a:pt x="435" y="90"/>
                    </a:lnTo>
                    <a:lnTo>
                      <a:pt x="446" y="103"/>
                    </a:lnTo>
                    <a:lnTo>
                      <a:pt x="446" y="119"/>
                    </a:lnTo>
                    <a:lnTo>
                      <a:pt x="446" y="134"/>
                    </a:lnTo>
                    <a:lnTo>
                      <a:pt x="446" y="148"/>
                    </a:lnTo>
                    <a:lnTo>
                      <a:pt x="462" y="161"/>
                    </a:lnTo>
                    <a:lnTo>
                      <a:pt x="507" y="148"/>
                    </a:lnTo>
                    <a:lnTo>
                      <a:pt x="520" y="148"/>
                    </a:lnTo>
                    <a:lnTo>
                      <a:pt x="520" y="161"/>
                    </a:lnTo>
                    <a:lnTo>
                      <a:pt x="536" y="161"/>
                    </a:lnTo>
                    <a:lnTo>
                      <a:pt x="563" y="161"/>
                    </a:lnTo>
                    <a:lnTo>
                      <a:pt x="563" y="148"/>
                    </a:lnTo>
                    <a:lnTo>
                      <a:pt x="563" y="134"/>
                    </a:lnTo>
                    <a:lnTo>
                      <a:pt x="563" y="119"/>
                    </a:lnTo>
                    <a:lnTo>
                      <a:pt x="578" y="119"/>
                    </a:lnTo>
                    <a:lnTo>
                      <a:pt x="594" y="103"/>
                    </a:lnTo>
                    <a:lnTo>
                      <a:pt x="594" y="90"/>
                    </a:lnTo>
                    <a:lnTo>
                      <a:pt x="567" y="82"/>
                    </a:lnTo>
                    <a:lnTo>
                      <a:pt x="594" y="61"/>
                    </a:lnTo>
                    <a:lnTo>
                      <a:pt x="594" y="47"/>
                    </a:lnTo>
                    <a:lnTo>
                      <a:pt x="636" y="20"/>
                    </a:lnTo>
                    <a:lnTo>
                      <a:pt x="636" y="33"/>
                    </a:lnTo>
                    <a:lnTo>
                      <a:pt x="636" y="47"/>
                    </a:lnTo>
                    <a:lnTo>
                      <a:pt x="636" y="61"/>
                    </a:lnTo>
                    <a:lnTo>
                      <a:pt x="666" y="61"/>
                    </a:lnTo>
                    <a:lnTo>
                      <a:pt x="679" y="47"/>
                    </a:lnTo>
                    <a:lnTo>
                      <a:pt x="695" y="20"/>
                    </a:lnTo>
                    <a:lnTo>
                      <a:pt x="679" y="20"/>
                    </a:lnTo>
                    <a:lnTo>
                      <a:pt x="679" y="4"/>
                    </a:lnTo>
                    <a:lnTo>
                      <a:pt x="695" y="4"/>
                    </a:lnTo>
                    <a:lnTo>
                      <a:pt x="716" y="0"/>
                    </a:lnTo>
                    <a:lnTo>
                      <a:pt x="726" y="18"/>
                    </a:lnTo>
                    <a:lnTo>
                      <a:pt x="730" y="29"/>
                    </a:lnTo>
                    <a:lnTo>
                      <a:pt x="735" y="29"/>
                    </a:lnTo>
                    <a:lnTo>
                      <a:pt x="751" y="29"/>
                    </a:lnTo>
                    <a:lnTo>
                      <a:pt x="780" y="29"/>
                    </a:lnTo>
                    <a:lnTo>
                      <a:pt x="797" y="8"/>
                    </a:lnTo>
                    <a:lnTo>
                      <a:pt x="821" y="2"/>
                    </a:lnTo>
                    <a:lnTo>
                      <a:pt x="848" y="10"/>
                    </a:lnTo>
                    <a:lnTo>
                      <a:pt x="856" y="35"/>
                    </a:lnTo>
                    <a:lnTo>
                      <a:pt x="861" y="45"/>
                    </a:lnTo>
                    <a:lnTo>
                      <a:pt x="865" y="72"/>
                    </a:lnTo>
                    <a:lnTo>
                      <a:pt x="861" y="92"/>
                    </a:lnTo>
                    <a:lnTo>
                      <a:pt x="856" y="93"/>
                    </a:lnTo>
                    <a:lnTo>
                      <a:pt x="871" y="93"/>
                    </a:lnTo>
                    <a:lnTo>
                      <a:pt x="861" y="111"/>
                    </a:lnTo>
                    <a:lnTo>
                      <a:pt x="887" y="126"/>
                    </a:lnTo>
                    <a:lnTo>
                      <a:pt x="908" y="134"/>
                    </a:lnTo>
                    <a:lnTo>
                      <a:pt x="939" y="157"/>
                    </a:lnTo>
                    <a:lnTo>
                      <a:pt x="939" y="189"/>
                    </a:lnTo>
                    <a:lnTo>
                      <a:pt x="945" y="210"/>
                    </a:lnTo>
                    <a:lnTo>
                      <a:pt x="955" y="220"/>
                    </a:lnTo>
                    <a:lnTo>
                      <a:pt x="955" y="262"/>
                    </a:lnTo>
                    <a:lnTo>
                      <a:pt x="962" y="272"/>
                    </a:lnTo>
                    <a:lnTo>
                      <a:pt x="987" y="305"/>
                    </a:lnTo>
                    <a:lnTo>
                      <a:pt x="995" y="334"/>
                    </a:lnTo>
                    <a:lnTo>
                      <a:pt x="995" y="381"/>
                    </a:lnTo>
                    <a:lnTo>
                      <a:pt x="986" y="406"/>
                    </a:lnTo>
                    <a:lnTo>
                      <a:pt x="933" y="441"/>
                    </a:lnTo>
                    <a:lnTo>
                      <a:pt x="945" y="460"/>
                    </a:lnTo>
                    <a:lnTo>
                      <a:pt x="970" y="466"/>
                    </a:lnTo>
                    <a:lnTo>
                      <a:pt x="960" y="508"/>
                    </a:lnTo>
                    <a:lnTo>
                      <a:pt x="960" y="518"/>
                    </a:lnTo>
                    <a:lnTo>
                      <a:pt x="964" y="524"/>
                    </a:lnTo>
                    <a:lnTo>
                      <a:pt x="955" y="565"/>
                    </a:lnTo>
                    <a:lnTo>
                      <a:pt x="962" y="576"/>
                    </a:lnTo>
                    <a:lnTo>
                      <a:pt x="955" y="588"/>
                    </a:lnTo>
                    <a:lnTo>
                      <a:pt x="974" y="604"/>
                    </a:lnTo>
                    <a:lnTo>
                      <a:pt x="986" y="623"/>
                    </a:lnTo>
                    <a:lnTo>
                      <a:pt x="1013" y="658"/>
                    </a:lnTo>
                    <a:lnTo>
                      <a:pt x="1001" y="662"/>
                    </a:lnTo>
                    <a:lnTo>
                      <a:pt x="1001" y="681"/>
                    </a:lnTo>
                    <a:lnTo>
                      <a:pt x="1013" y="687"/>
                    </a:lnTo>
                    <a:lnTo>
                      <a:pt x="1022" y="706"/>
                    </a:lnTo>
                    <a:lnTo>
                      <a:pt x="1013" y="737"/>
                    </a:lnTo>
                    <a:lnTo>
                      <a:pt x="995" y="749"/>
                    </a:lnTo>
                    <a:lnTo>
                      <a:pt x="966" y="745"/>
                    </a:lnTo>
                    <a:lnTo>
                      <a:pt x="937" y="770"/>
                    </a:lnTo>
                    <a:lnTo>
                      <a:pt x="929" y="786"/>
                    </a:lnTo>
                    <a:lnTo>
                      <a:pt x="916" y="811"/>
                    </a:lnTo>
                    <a:lnTo>
                      <a:pt x="900" y="815"/>
                    </a:lnTo>
                    <a:lnTo>
                      <a:pt x="889" y="832"/>
                    </a:lnTo>
                    <a:lnTo>
                      <a:pt x="883" y="850"/>
                    </a:lnTo>
                    <a:lnTo>
                      <a:pt x="877" y="881"/>
                    </a:lnTo>
                    <a:lnTo>
                      <a:pt x="877" y="894"/>
                    </a:lnTo>
                    <a:lnTo>
                      <a:pt x="877" y="910"/>
                    </a:lnTo>
                    <a:lnTo>
                      <a:pt x="871" y="922"/>
                    </a:lnTo>
                    <a:lnTo>
                      <a:pt x="871" y="937"/>
                    </a:lnTo>
                    <a:lnTo>
                      <a:pt x="856" y="958"/>
                    </a:lnTo>
                    <a:lnTo>
                      <a:pt x="852" y="937"/>
                    </a:lnTo>
                    <a:lnTo>
                      <a:pt x="838" y="937"/>
                    </a:lnTo>
                    <a:lnTo>
                      <a:pt x="823" y="937"/>
                    </a:lnTo>
                    <a:lnTo>
                      <a:pt x="809" y="937"/>
                    </a:lnTo>
                    <a:lnTo>
                      <a:pt x="794" y="924"/>
                    </a:lnTo>
                    <a:lnTo>
                      <a:pt x="780" y="908"/>
                    </a:lnTo>
                    <a:lnTo>
                      <a:pt x="764" y="894"/>
                    </a:lnTo>
                    <a:lnTo>
                      <a:pt x="751" y="894"/>
                    </a:lnTo>
                    <a:lnTo>
                      <a:pt x="735" y="865"/>
                    </a:lnTo>
                    <a:lnTo>
                      <a:pt x="724" y="879"/>
                    </a:lnTo>
                    <a:lnTo>
                      <a:pt x="708" y="894"/>
                    </a:lnTo>
                    <a:lnTo>
                      <a:pt x="666" y="908"/>
                    </a:lnTo>
                    <a:lnTo>
                      <a:pt x="666" y="894"/>
                    </a:lnTo>
                    <a:lnTo>
                      <a:pt x="666" y="865"/>
                    </a:lnTo>
                    <a:lnTo>
                      <a:pt x="650" y="879"/>
                    </a:lnTo>
                    <a:lnTo>
                      <a:pt x="636" y="879"/>
                    </a:lnTo>
                    <a:lnTo>
                      <a:pt x="621" y="865"/>
                    </a:lnTo>
                    <a:lnTo>
                      <a:pt x="594" y="879"/>
                    </a:lnTo>
                    <a:lnTo>
                      <a:pt x="594" y="894"/>
                    </a:lnTo>
                    <a:lnTo>
                      <a:pt x="578" y="908"/>
                    </a:lnTo>
                    <a:lnTo>
                      <a:pt x="578" y="879"/>
                    </a:lnTo>
                    <a:lnTo>
                      <a:pt x="563" y="865"/>
                    </a:lnTo>
                    <a:lnTo>
                      <a:pt x="549" y="879"/>
                    </a:lnTo>
                    <a:lnTo>
                      <a:pt x="536" y="879"/>
                    </a:lnTo>
                    <a:lnTo>
                      <a:pt x="520" y="894"/>
                    </a:lnTo>
                    <a:lnTo>
                      <a:pt x="507" y="879"/>
                    </a:lnTo>
                    <a:lnTo>
                      <a:pt x="477" y="879"/>
                    </a:lnTo>
                    <a:lnTo>
                      <a:pt x="462" y="865"/>
                    </a:lnTo>
                    <a:lnTo>
                      <a:pt x="446" y="852"/>
                    </a:lnTo>
                    <a:lnTo>
                      <a:pt x="435" y="836"/>
                    </a:lnTo>
                    <a:lnTo>
                      <a:pt x="406" y="836"/>
                    </a:lnTo>
                    <a:lnTo>
                      <a:pt x="377" y="823"/>
                    </a:lnTo>
                    <a:lnTo>
                      <a:pt x="361" y="807"/>
                    </a:lnTo>
                    <a:lnTo>
                      <a:pt x="334" y="764"/>
                    </a:lnTo>
                    <a:lnTo>
                      <a:pt x="318" y="778"/>
                    </a:lnTo>
                    <a:lnTo>
                      <a:pt x="305" y="764"/>
                    </a:lnTo>
                    <a:lnTo>
                      <a:pt x="276" y="764"/>
                    </a:lnTo>
                    <a:lnTo>
                      <a:pt x="260" y="764"/>
                    </a:lnTo>
                    <a:lnTo>
                      <a:pt x="276" y="778"/>
                    </a:lnTo>
                    <a:lnTo>
                      <a:pt x="260" y="778"/>
                    </a:lnTo>
                    <a:lnTo>
                      <a:pt x="247" y="794"/>
                    </a:lnTo>
                    <a:lnTo>
                      <a:pt x="247" y="807"/>
                    </a:lnTo>
                    <a:lnTo>
                      <a:pt x="231" y="778"/>
                    </a:lnTo>
                    <a:lnTo>
                      <a:pt x="218" y="764"/>
                    </a:lnTo>
                    <a:lnTo>
                      <a:pt x="188" y="764"/>
                    </a:lnTo>
                    <a:lnTo>
                      <a:pt x="202" y="751"/>
                    </a:lnTo>
                    <a:lnTo>
                      <a:pt x="218" y="735"/>
                    </a:lnTo>
                    <a:lnTo>
                      <a:pt x="202" y="722"/>
                    </a:lnTo>
                    <a:lnTo>
                      <a:pt x="175" y="722"/>
                    </a:lnTo>
                    <a:lnTo>
                      <a:pt x="146" y="708"/>
                    </a:lnTo>
                    <a:lnTo>
                      <a:pt x="130" y="708"/>
                    </a:lnTo>
                    <a:lnTo>
                      <a:pt x="117" y="693"/>
                    </a:lnTo>
                    <a:lnTo>
                      <a:pt x="101" y="693"/>
                    </a:lnTo>
                    <a:lnTo>
                      <a:pt x="101" y="679"/>
                    </a:lnTo>
                    <a:lnTo>
                      <a:pt x="101" y="664"/>
                    </a:lnTo>
                    <a:lnTo>
                      <a:pt x="101" y="636"/>
                    </a:lnTo>
                    <a:lnTo>
                      <a:pt x="88" y="636"/>
                    </a:lnTo>
                    <a:lnTo>
                      <a:pt x="66" y="638"/>
                    </a:lnTo>
                    <a:lnTo>
                      <a:pt x="59" y="650"/>
                    </a:lnTo>
                    <a:lnTo>
                      <a:pt x="59" y="636"/>
                    </a:lnTo>
                    <a:lnTo>
                      <a:pt x="59" y="592"/>
                    </a:lnTo>
                    <a:lnTo>
                      <a:pt x="72" y="578"/>
                    </a:lnTo>
                    <a:lnTo>
                      <a:pt x="59" y="578"/>
                    </a:lnTo>
                    <a:lnTo>
                      <a:pt x="59" y="563"/>
                    </a:lnTo>
                    <a:lnTo>
                      <a:pt x="59" y="549"/>
                    </a:lnTo>
                    <a:lnTo>
                      <a:pt x="59" y="507"/>
                    </a:lnTo>
                    <a:lnTo>
                      <a:pt x="59" y="493"/>
                    </a:lnTo>
                    <a:lnTo>
                      <a:pt x="45" y="464"/>
                    </a:lnTo>
                    <a:lnTo>
                      <a:pt x="45" y="448"/>
                    </a:lnTo>
                    <a:lnTo>
                      <a:pt x="45" y="435"/>
                    </a:lnTo>
                    <a:lnTo>
                      <a:pt x="59" y="419"/>
                    </a:lnTo>
                    <a:lnTo>
                      <a:pt x="45" y="419"/>
                    </a:lnTo>
                    <a:lnTo>
                      <a:pt x="29" y="406"/>
                    </a:lnTo>
                    <a:lnTo>
                      <a:pt x="29" y="392"/>
                    </a:lnTo>
                    <a:lnTo>
                      <a:pt x="16" y="379"/>
                    </a:lnTo>
                    <a:lnTo>
                      <a:pt x="0" y="348"/>
                    </a:lnTo>
                    <a:lnTo>
                      <a:pt x="16" y="334"/>
                    </a:lnTo>
                    <a:lnTo>
                      <a:pt x="29" y="318"/>
                    </a:lnTo>
                    <a:lnTo>
                      <a:pt x="29" y="305"/>
                    </a:lnTo>
                    <a:lnTo>
                      <a:pt x="29" y="291"/>
                    </a:lnTo>
                    <a:lnTo>
                      <a:pt x="29" y="278"/>
                    </a:lnTo>
                    <a:lnTo>
                      <a:pt x="29" y="262"/>
                    </a:lnTo>
                    <a:lnTo>
                      <a:pt x="31" y="241"/>
                    </a:lnTo>
                  </a:path>
                </a:pathLst>
              </a:custGeom>
              <a:grpFill/>
              <a:ln w="3175" cmpd="sng">
                <a:solidFill>
                  <a:schemeClr val="bg1"/>
                </a:solidFill>
                <a:prstDash val="solid"/>
                <a:round/>
                <a:headEnd/>
                <a:tailEnd/>
              </a:ln>
            </p:spPr>
            <p:txBody>
              <a:bodyPr/>
              <a:lstStyle/>
              <a:p>
                <a:endParaRPr lang="da-DK"/>
              </a:p>
            </p:txBody>
          </p:sp>
          <p:sp>
            <p:nvSpPr>
              <p:cNvPr id="104" name="Freeform 1034">
                <a:extLst>
                  <a:ext uri="{FF2B5EF4-FFF2-40B4-BE49-F238E27FC236}">
                    <a16:creationId xmlns:a16="http://schemas.microsoft.com/office/drawing/2014/main" id="{BDFE96A8-BB9C-46EB-2048-3C147A31B888}"/>
                  </a:ext>
                </a:extLst>
              </p:cNvPr>
              <p:cNvSpPr>
                <a:spLocks/>
              </p:cNvSpPr>
              <p:nvPr/>
            </p:nvSpPr>
            <p:spPr bwMode="auto">
              <a:xfrm>
                <a:off x="3635" y="2036"/>
                <a:ext cx="162" cy="31"/>
              </a:xfrm>
              <a:custGeom>
                <a:avLst/>
                <a:gdLst>
                  <a:gd name="T0" fmla="*/ 0 w 162"/>
                  <a:gd name="T1" fmla="*/ 0 h 31"/>
                  <a:gd name="T2" fmla="*/ 13 w 162"/>
                  <a:gd name="T3" fmla="*/ 10 h 31"/>
                  <a:gd name="T4" fmla="*/ 42 w 162"/>
                  <a:gd name="T5" fmla="*/ 27 h 31"/>
                  <a:gd name="T6" fmla="*/ 87 w 162"/>
                  <a:gd name="T7" fmla="*/ 31 h 31"/>
                  <a:gd name="T8" fmla="*/ 162 w 162"/>
                  <a:gd name="T9" fmla="*/ 24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2" h="31">
                    <a:moveTo>
                      <a:pt x="0" y="0"/>
                    </a:moveTo>
                    <a:lnTo>
                      <a:pt x="13" y="10"/>
                    </a:lnTo>
                    <a:lnTo>
                      <a:pt x="42" y="27"/>
                    </a:lnTo>
                    <a:lnTo>
                      <a:pt x="87" y="31"/>
                    </a:lnTo>
                    <a:lnTo>
                      <a:pt x="162" y="24"/>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26" name="Freeform 1035">
              <a:extLst>
                <a:ext uri="{FF2B5EF4-FFF2-40B4-BE49-F238E27FC236}">
                  <a16:creationId xmlns:a16="http://schemas.microsoft.com/office/drawing/2014/main" id="{A4259FAB-D006-EE0C-CA3F-46B0A7460545}"/>
                </a:ext>
              </a:extLst>
            </p:cNvPr>
            <p:cNvSpPr>
              <a:spLocks/>
            </p:cNvSpPr>
            <p:nvPr>
              <p:custDataLst>
                <p:tags r:id="rId5"/>
              </p:custDataLst>
            </p:nvPr>
          </p:nvSpPr>
          <p:spPr bwMode="auto">
            <a:xfrm>
              <a:off x="6165929" y="2701388"/>
              <a:ext cx="140970" cy="83701"/>
            </a:xfrm>
            <a:custGeom>
              <a:avLst/>
              <a:gdLst>
                <a:gd name="T0" fmla="*/ 50409 w 130"/>
                <a:gd name="T1" fmla="*/ 90488 h 85"/>
                <a:gd name="T2" fmla="*/ 67994 w 130"/>
                <a:gd name="T3" fmla="*/ 74520 h 85"/>
                <a:gd name="T4" fmla="*/ 67994 w 130"/>
                <a:gd name="T5" fmla="*/ 59616 h 85"/>
                <a:gd name="T6" fmla="*/ 101991 w 130"/>
                <a:gd name="T7" fmla="*/ 59616 h 85"/>
                <a:gd name="T8" fmla="*/ 116058 w 130"/>
                <a:gd name="T9" fmla="*/ 59616 h 85"/>
                <a:gd name="T10" fmla="*/ 116058 w 130"/>
                <a:gd name="T11" fmla="*/ 47905 h 85"/>
                <a:gd name="T12" fmla="*/ 133643 w 130"/>
                <a:gd name="T13" fmla="*/ 30872 h 85"/>
                <a:gd name="T14" fmla="*/ 152400 w 130"/>
                <a:gd name="T15" fmla="*/ 12775 h 85"/>
                <a:gd name="T16" fmla="*/ 116058 w 130"/>
                <a:gd name="T17" fmla="*/ 0 h 85"/>
                <a:gd name="T18" fmla="*/ 67994 w 130"/>
                <a:gd name="T19" fmla="*/ 30872 h 85"/>
                <a:gd name="T20" fmla="*/ 50409 w 130"/>
                <a:gd name="T21" fmla="*/ 0 h 85"/>
                <a:gd name="T22" fmla="*/ 33997 w 130"/>
                <a:gd name="T23" fmla="*/ 12775 h 85"/>
                <a:gd name="T24" fmla="*/ 33997 w 130"/>
                <a:gd name="T25" fmla="*/ 30872 h 85"/>
                <a:gd name="T26" fmla="*/ 33997 w 130"/>
                <a:gd name="T27" fmla="*/ 47905 h 85"/>
                <a:gd name="T28" fmla="*/ 0 w 130"/>
                <a:gd name="T29" fmla="*/ 59616 h 85"/>
                <a:gd name="T30" fmla="*/ 16412 w 130"/>
                <a:gd name="T31" fmla="*/ 59616 h 85"/>
                <a:gd name="T32" fmla="*/ 33997 w 130"/>
                <a:gd name="T33" fmla="*/ 59616 h 85"/>
                <a:gd name="T34" fmla="*/ 50409 w 130"/>
                <a:gd name="T35" fmla="*/ 74520 h 85"/>
                <a:gd name="T36" fmla="*/ 50409 w 130"/>
                <a:gd name="T37" fmla="*/ 90488 h 85"/>
                <a:gd name="T38" fmla="*/ 50409 w 130"/>
                <a:gd name="T39" fmla="*/ 90488 h 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close/>
                </a:path>
              </a:pathLst>
            </a:custGeom>
            <a:grpFill/>
            <a:ln w="3175" cmpd="sng">
              <a:solidFill>
                <a:schemeClr val="bg1"/>
              </a:solidFill>
              <a:round/>
              <a:headEnd/>
              <a:tailEnd/>
            </a:ln>
          </p:spPr>
          <p:txBody>
            <a:bodyPr/>
            <a:lstStyle/>
            <a:p>
              <a:endParaRPr lang="da-DK"/>
            </a:p>
          </p:txBody>
        </p:sp>
        <p:sp>
          <p:nvSpPr>
            <p:cNvPr id="27" name="Freeform 1037">
              <a:extLst>
                <a:ext uri="{FF2B5EF4-FFF2-40B4-BE49-F238E27FC236}">
                  <a16:creationId xmlns:a16="http://schemas.microsoft.com/office/drawing/2014/main" id="{6DE3EC22-2B9F-B2E1-7A16-1A4F517F3455}"/>
                </a:ext>
              </a:extLst>
            </p:cNvPr>
            <p:cNvSpPr>
              <a:spLocks/>
            </p:cNvSpPr>
            <p:nvPr>
              <p:custDataLst>
                <p:tags r:id="rId6"/>
              </p:custDataLst>
            </p:nvPr>
          </p:nvSpPr>
          <p:spPr bwMode="auto">
            <a:xfrm>
              <a:off x="6215857" y="2627967"/>
              <a:ext cx="57270" cy="57270"/>
            </a:xfrm>
            <a:custGeom>
              <a:avLst/>
              <a:gdLst>
                <a:gd name="T0" fmla="*/ 32062 w 56"/>
                <a:gd name="T1" fmla="*/ 61913 h 57"/>
                <a:gd name="T2" fmla="*/ 32062 w 56"/>
                <a:gd name="T3" fmla="*/ 31500 h 57"/>
                <a:gd name="T4" fmla="*/ 16584 w 56"/>
                <a:gd name="T5" fmla="*/ 31500 h 57"/>
                <a:gd name="T6" fmla="*/ 0 w 56"/>
                <a:gd name="T7" fmla="*/ 31500 h 57"/>
                <a:gd name="T8" fmla="*/ 0 w 56"/>
                <a:gd name="T9" fmla="*/ 17379 h 57"/>
                <a:gd name="T10" fmla="*/ 16584 w 56"/>
                <a:gd name="T11" fmla="*/ 17379 h 57"/>
                <a:gd name="T12" fmla="*/ 32062 w 56"/>
                <a:gd name="T13" fmla="*/ 0 h 57"/>
                <a:gd name="T14" fmla="*/ 61913 w 56"/>
                <a:gd name="T15" fmla="*/ 17379 h 57"/>
                <a:gd name="T16" fmla="*/ 61913 w 56"/>
                <a:gd name="T17" fmla="*/ 31500 h 57"/>
                <a:gd name="T18" fmla="*/ 48646 w 56"/>
                <a:gd name="T19" fmla="*/ 46706 h 57"/>
                <a:gd name="T20" fmla="*/ 32062 w 56"/>
                <a:gd name="T21" fmla="*/ 61913 h 57"/>
                <a:gd name="T22" fmla="*/ 32062 w 56"/>
                <a:gd name="T23" fmla="*/ 6191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close/>
                </a:path>
              </a:pathLst>
            </a:custGeom>
            <a:grpFill/>
            <a:ln w="3175" cmpd="sng">
              <a:solidFill>
                <a:schemeClr val="bg1"/>
              </a:solidFill>
              <a:round/>
              <a:headEnd/>
              <a:tailEnd/>
            </a:ln>
          </p:spPr>
          <p:txBody>
            <a:bodyPr/>
            <a:lstStyle/>
            <a:p>
              <a:endParaRPr lang="da-DK"/>
            </a:p>
          </p:txBody>
        </p:sp>
        <p:sp>
          <p:nvSpPr>
            <p:cNvPr id="28" name="Freeform 1039">
              <a:extLst>
                <a:ext uri="{FF2B5EF4-FFF2-40B4-BE49-F238E27FC236}">
                  <a16:creationId xmlns:a16="http://schemas.microsoft.com/office/drawing/2014/main" id="{1DDB48FF-3269-650C-F03E-A5FC482411A2}"/>
                </a:ext>
              </a:extLst>
            </p:cNvPr>
            <p:cNvSpPr>
              <a:spLocks/>
            </p:cNvSpPr>
            <p:nvPr>
              <p:custDataLst>
                <p:tags r:id="rId7"/>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w 458"/>
                <a:gd name="T89" fmla="*/ 41275 h 4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lnTo>
                    <a:pt x="0" y="39"/>
                  </a:lnTo>
                  <a:close/>
                </a:path>
              </a:pathLst>
            </a:custGeom>
            <a:grpFill/>
            <a:ln w="3175" cmpd="sng">
              <a:solidFill>
                <a:schemeClr val="bg1"/>
              </a:solidFill>
              <a:round/>
              <a:headEnd/>
              <a:tailEnd/>
            </a:ln>
          </p:spPr>
          <p:txBody>
            <a:bodyPr/>
            <a:lstStyle/>
            <a:p>
              <a:endParaRPr lang="da-DK"/>
            </a:p>
          </p:txBody>
        </p:sp>
        <p:sp>
          <p:nvSpPr>
            <p:cNvPr id="29" name="Freeform 1040">
              <a:extLst>
                <a:ext uri="{FF2B5EF4-FFF2-40B4-BE49-F238E27FC236}">
                  <a16:creationId xmlns:a16="http://schemas.microsoft.com/office/drawing/2014/main" id="{EA389736-98B4-D08A-10B9-4ACB5818E88D}"/>
                </a:ext>
              </a:extLst>
            </p:cNvPr>
            <p:cNvSpPr>
              <a:spLocks/>
            </p:cNvSpPr>
            <p:nvPr>
              <p:custDataLst>
                <p:tags r:id="rId8"/>
              </p:custDataLst>
            </p:nvPr>
          </p:nvSpPr>
          <p:spPr bwMode="auto">
            <a:xfrm>
              <a:off x="6757710" y="4200664"/>
              <a:ext cx="499269" cy="472837"/>
            </a:xfrm>
            <a:custGeom>
              <a:avLst/>
              <a:gdLst>
                <a:gd name="T0" fmla="*/ 20034 w 458"/>
                <a:gd name="T1" fmla="*/ 74083 h 483"/>
                <a:gd name="T2" fmla="*/ 34176 w 458"/>
                <a:gd name="T3" fmla="*/ 119592 h 483"/>
                <a:gd name="T4" fmla="*/ 68353 w 458"/>
                <a:gd name="T5" fmla="*/ 148167 h 483"/>
                <a:gd name="T6" fmla="*/ 119028 w 458"/>
                <a:gd name="T7" fmla="*/ 165100 h 483"/>
                <a:gd name="T8" fmla="*/ 134348 w 458"/>
                <a:gd name="T9" fmla="*/ 195792 h 483"/>
                <a:gd name="T10" fmla="*/ 187380 w 458"/>
                <a:gd name="T11" fmla="*/ 209550 h 483"/>
                <a:gd name="T12" fmla="*/ 203879 w 458"/>
                <a:gd name="T13" fmla="*/ 255058 h 483"/>
                <a:gd name="T14" fmla="*/ 221557 w 458"/>
                <a:gd name="T15" fmla="*/ 316442 h 483"/>
                <a:gd name="T16" fmla="*/ 203879 w 458"/>
                <a:gd name="T17" fmla="*/ 359833 h 483"/>
                <a:gd name="T18" fmla="*/ 221557 w 458"/>
                <a:gd name="T19" fmla="*/ 390525 h 483"/>
                <a:gd name="T20" fmla="*/ 203879 w 458"/>
                <a:gd name="T21" fmla="*/ 421217 h 483"/>
                <a:gd name="T22" fmla="*/ 203879 w 458"/>
                <a:gd name="T23" fmla="*/ 480483 h 483"/>
                <a:gd name="T24" fmla="*/ 235699 w 458"/>
                <a:gd name="T25" fmla="*/ 495300 h 483"/>
                <a:gd name="T26" fmla="*/ 269875 w 458"/>
                <a:gd name="T27" fmla="*/ 511175 h 483"/>
                <a:gd name="T28" fmla="*/ 320550 w 458"/>
                <a:gd name="T29" fmla="*/ 511175 h 483"/>
                <a:gd name="T30" fmla="*/ 354727 w 458"/>
                <a:gd name="T31" fmla="*/ 480483 h 483"/>
                <a:gd name="T32" fmla="*/ 386546 w 458"/>
                <a:gd name="T33" fmla="*/ 480483 h 483"/>
                <a:gd name="T34" fmla="*/ 404223 w 458"/>
                <a:gd name="T35" fmla="*/ 495300 h 483"/>
                <a:gd name="T36" fmla="*/ 423079 w 458"/>
                <a:gd name="T37" fmla="*/ 466725 h 483"/>
                <a:gd name="T38" fmla="*/ 404223 w 458"/>
                <a:gd name="T39" fmla="*/ 436033 h 483"/>
                <a:gd name="T40" fmla="*/ 423079 w 458"/>
                <a:gd name="T41" fmla="*/ 404283 h 483"/>
                <a:gd name="T42" fmla="*/ 438400 w 458"/>
                <a:gd name="T43" fmla="*/ 421217 h 483"/>
                <a:gd name="T44" fmla="*/ 489075 w 458"/>
                <a:gd name="T45" fmla="*/ 404283 h 483"/>
                <a:gd name="T46" fmla="*/ 523251 w 458"/>
                <a:gd name="T47" fmla="*/ 390525 h 483"/>
                <a:gd name="T48" fmla="*/ 539750 w 458"/>
                <a:gd name="T49" fmla="*/ 359833 h 483"/>
                <a:gd name="T50" fmla="*/ 505574 w 458"/>
                <a:gd name="T51" fmla="*/ 342900 h 483"/>
                <a:gd name="T52" fmla="*/ 472576 w 458"/>
                <a:gd name="T53" fmla="*/ 316442 h 483"/>
                <a:gd name="T54" fmla="*/ 489075 w 458"/>
                <a:gd name="T55" fmla="*/ 301625 h 483"/>
                <a:gd name="T56" fmla="*/ 457255 w 458"/>
                <a:gd name="T57" fmla="*/ 270933 h 483"/>
                <a:gd name="T58" fmla="*/ 440757 w 458"/>
                <a:gd name="T59" fmla="*/ 238125 h 483"/>
                <a:gd name="T60" fmla="*/ 423079 w 458"/>
                <a:gd name="T61" fmla="*/ 226483 h 483"/>
                <a:gd name="T62" fmla="*/ 406580 w 458"/>
                <a:gd name="T63" fmla="*/ 195792 h 483"/>
                <a:gd name="T64" fmla="*/ 372404 w 458"/>
                <a:gd name="T65" fmla="*/ 165100 h 483"/>
                <a:gd name="T66" fmla="*/ 357084 w 458"/>
                <a:gd name="T67" fmla="*/ 148167 h 483"/>
                <a:gd name="T68" fmla="*/ 357084 w 458"/>
                <a:gd name="T69" fmla="*/ 88900 h 483"/>
                <a:gd name="T70" fmla="*/ 340585 w 458"/>
                <a:gd name="T71" fmla="*/ 74083 h 483"/>
                <a:gd name="T72" fmla="*/ 304051 w 458"/>
                <a:gd name="T73" fmla="*/ 43392 h 483"/>
                <a:gd name="T74" fmla="*/ 274589 w 458"/>
                <a:gd name="T75" fmla="*/ 43392 h 483"/>
                <a:gd name="T76" fmla="*/ 238056 w 458"/>
                <a:gd name="T77" fmla="*/ 27517 h 483"/>
                <a:gd name="T78" fmla="*/ 206236 w 458"/>
                <a:gd name="T79" fmla="*/ 27517 h 483"/>
                <a:gd name="T80" fmla="*/ 153204 w 458"/>
                <a:gd name="T81" fmla="*/ 12700 h 483"/>
                <a:gd name="T82" fmla="*/ 104886 w 458"/>
                <a:gd name="T83" fmla="*/ 0 h 483"/>
                <a:gd name="T84" fmla="*/ 70710 w 458"/>
                <a:gd name="T85" fmla="*/ 27517 h 483"/>
                <a:gd name="T86" fmla="*/ 2357 w 458"/>
                <a:gd name="T87" fmla="*/ 43392 h 4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83">
                  <a:moveTo>
                    <a:pt x="0" y="39"/>
                  </a:moveTo>
                  <a:lnTo>
                    <a:pt x="17" y="70"/>
                  </a:lnTo>
                  <a:lnTo>
                    <a:pt x="29" y="70"/>
                  </a:lnTo>
                  <a:lnTo>
                    <a:pt x="29" y="113"/>
                  </a:lnTo>
                  <a:lnTo>
                    <a:pt x="43" y="126"/>
                  </a:lnTo>
                  <a:lnTo>
                    <a:pt x="58" y="140"/>
                  </a:lnTo>
                  <a:lnTo>
                    <a:pt x="87" y="156"/>
                  </a:lnTo>
                  <a:lnTo>
                    <a:pt x="101" y="156"/>
                  </a:lnTo>
                  <a:lnTo>
                    <a:pt x="101" y="169"/>
                  </a:lnTo>
                  <a:lnTo>
                    <a:pt x="114" y="185"/>
                  </a:lnTo>
                  <a:lnTo>
                    <a:pt x="128" y="185"/>
                  </a:lnTo>
                  <a:lnTo>
                    <a:pt x="159" y="198"/>
                  </a:lnTo>
                  <a:lnTo>
                    <a:pt x="159" y="214"/>
                  </a:lnTo>
                  <a:lnTo>
                    <a:pt x="173" y="241"/>
                  </a:lnTo>
                  <a:lnTo>
                    <a:pt x="173" y="270"/>
                  </a:lnTo>
                  <a:lnTo>
                    <a:pt x="188" y="299"/>
                  </a:lnTo>
                  <a:lnTo>
                    <a:pt x="188" y="324"/>
                  </a:lnTo>
                  <a:lnTo>
                    <a:pt x="173" y="340"/>
                  </a:lnTo>
                  <a:lnTo>
                    <a:pt x="173" y="353"/>
                  </a:lnTo>
                  <a:lnTo>
                    <a:pt x="188" y="369"/>
                  </a:lnTo>
                  <a:lnTo>
                    <a:pt x="173" y="382"/>
                  </a:lnTo>
                  <a:lnTo>
                    <a:pt x="173" y="398"/>
                  </a:lnTo>
                  <a:lnTo>
                    <a:pt x="173" y="427"/>
                  </a:lnTo>
                  <a:lnTo>
                    <a:pt x="173" y="454"/>
                  </a:lnTo>
                  <a:lnTo>
                    <a:pt x="173" y="468"/>
                  </a:lnTo>
                  <a:lnTo>
                    <a:pt x="200" y="468"/>
                  </a:lnTo>
                  <a:lnTo>
                    <a:pt x="215" y="483"/>
                  </a:lnTo>
                  <a:lnTo>
                    <a:pt x="229" y="483"/>
                  </a:lnTo>
                  <a:lnTo>
                    <a:pt x="244" y="483"/>
                  </a:lnTo>
                  <a:lnTo>
                    <a:pt x="272" y="483"/>
                  </a:lnTo>
                  <a:lnTo>
                    <a:pt x="287" y="468"/>
                  </a:lnTo>
                  <a:lnTo>
                    <a:pt x="301" y="454"/>
                  </a:lnTo>
                  <a:lnTo>
                    <a:pt x="314" y="441"/>
                  </a:lnTo>
                  <a:lnTo>
                    <a:pt x="328" y="454"/>
                  </a:lnTo>
                  <a:lnTo>
                    <a:pt x="343" y="454"/>
                  </a:lnTo>
                  <a:lnTo>
                    <a:pt x="343" y="468"/>
                  </a:lnTo>
                  <a:lnTo>
                    <a:pt x="359" y="468"/>
                  </a:lnTo>
                  <a:lnTo>
                    <a:pt x="359" y="441"/>
                  </a:lnTo>
                  <a:lnTo>
                    <a:pt x="359" y="427"/>
                  </a:lnTo>
                  <a:lnTo>
                    <a:pt x="343" y="412"/>
                  </a:lnTo>
                  <a:lnTo>
                    <a:pt x="343" y="398"/>
                  </a:lnTo>
                  <a:lnTo>
                    <a:pt x="359" y="382"/>
                  </a:lnTo>
                  <a:lnTo>
                    <a:pt x="372" y="382"/>
                  </a:lnTo>
                  <a:lnTo>
                    <a:pt x="372" y="398"/>
                  </a:lnTo>
                  <a:lnTo>
                    <a:pt x="386" y="382"/>
                  </a:lnTo>
                  <a:lnTo>
                    <a:pt x="415" y="382"/>
                  </a:lnTo>
                  <a:lnTo>
                    <a:pt x="429" y="369"/>
                  </a:lnTo>
                  <a:lnTo>
                    <a:pt x="444" y="369"/>
                  </a:lnTo>
                  <a:lnTo>
                    <a:pt x="458" y="369"/>
                  </a:lnTo>
                  <a:lnTo>
                    <a:pt x="458" y="340"/>
                  </a:lnTo>
                  <a:lnTo>
                    <a:pt x="444" y="324"/>
                  </a:lnTo>
                  <a:lnTo>
                    <a:pt x="429" y="324"/>
                  </a:lnTo>
                  <a:lnTo>
                    <a:pt x="401" y="313"/>
                  </a:lnTo>
                  <a:lnTo>
                    <a:pt x="401" y="299"/>
                  </a:lnTo>
                  <a:lnTo>
                    <a:pt x="415" y="299"/>
                  </a:lnTo>
                  <a:lnTo>
                    <a:pt x="415" y="285"/>
                  </a:lnTo>
                  <a:lnTo>
                    <a:pt x="403" y="270"/>
                  </a:lnTo>
                  <a:lnTo>
                    <a:pt x="388" y="256"/>
                  </a:lnTo>
                  <a:lnTo>
                    <a:pt x="374" y="241"/>
                  </a:lnTo>
                  <a:lnTo>
                    <a:pt x="374" y="225"/>
                  </a:lnTo>
                  <a:lnTo>
                    <a:pt x="374" y="214"/>
                  </a:lnTo>
                  <a:lnTo>
                    <a:pt x="359" y="214"/>
                  </a:lnTo>
                  <a:lnTo>
                    <a:pt x="345" y="214"/>
                  </a:lnTo>
                  <a:lnTo>
                    <a:pt x="345" y="185"/>
                  </a:lnTo>
                  <a:lnTo>
                    <a:pt x="330" y="156"/>
                  </a:lnTo>
                  <a:lnTo>
                    <a:pt x="316" y="156"/>
                  </a:lnTo>
                  <a:lnTo>
                    <a:pt x="303" y="156"/>
                  </a:lnTo>
                  <a:lnTo>
                    <a:pt x="303" y="140"/>
                  </a:lnTo>
                  <a:lnTo>
                    <a:pt x="303" y="113"/>
                  </a:lnTo>
                  <a:lnTo>
                    <a:pt x="303" y="84"/>
                  </a:lnTo>
                  <a:lnTo>
                    <a:pt x="289" y="84"/>
                  </a:lnTo>
                  <a:lnTo>
                    <a:pt x="289" y="70"/>
                  </a:lnTo>
                  <a:lnTo>
                    <a:pt x="289" y="55"/>
                  </a:lnTo>
                  <a:lnTo>
                    <a:pt x="258" y="41"/>
                  </a:lnTo>
                  <a:lnTo>
                    <a:pt x="258" y="55"/>
                  </a:lnTo>
                  <a:lnTo>
                    <a:pt x="233" y="41"/>
                  </a:lnTo>
                  <a:lnTo>
                    <a:pt x="217" y="26"/>
                  </a:lnTo>
                  <a:lnTo>
                    <a:pt x="202" y="26"/>
                  </a:lnTo>
                  <a:lnTo>
                    <a:pt x="190" y="41"/>
                  </a:lnTo>
                  <a:lnTo>
                    <a:pt x="175" y="26"/>
                  </a:lnTo>
                  <a:lnTo>
                    <a:pt x="161" y="12"/>
                  </a:lnTo>
                  <a:lnTo>
                    <a:pt x="130" y="12"/>
                  </a:lnTo>
                  <a:lnTo>
                    <a:pt x="130" y="0"/>
                  </a:lnTo>
                  <a:lnTo>
                    <a:pt x="89" y="0"/>
                  </a:lnTo>
                  <a:lnTo>
                    <a:pt x="74" y="12"/>
                  </a:lnTo>
                  <a:lnTo>
                    <a:pt x="60" y="26"/>
                  </a:lnTo>
                  <a:lnTo>
                    <a:pt x="17" y="41"/>
                  </a:lnTo>
                  <a:lnTo>
                    <a:pt x="2" y="41"/>
                  </a:lnTo>
                </a:path>
              </a:pathLst>
            </a:custGeom>
            <a:grpFill/>
            <a:ln w="3175" cmpd="sng">
              <a:solidFill>
                <a:schemeClr val="bg1"/>
              </a:solidFill>
              <a:prstDash val="solid"/>
              <a:round/>
              <a:headEnd/>
              <a:tailEnd/>
            </a:ln>
          </p:spPr>
          <p:txBody>
            <a:bodyPr/>
            <a:lstStyle/>
            <a:p>
              <a:endParaRPr lang="da-DK"/>
            </a:p>
          </p:txBody>
        </p:sp>
        <p:sp>
          <p:nvSpPr>
            <p:cNvPr id="30" name="Freeform 1041">
              <a:extLst>
                <a:ext uri="{FF2B5EF4-FFF2-40B4-BE49-F238E27FC236}">
                  <a16:creationId xmlns:a16="http://schemas.microsoft.com/office/drawing/2014/main" id="{86CD4ED8-74E8-1F17-23F1-5BE41084B1EE}"/>
                </a:ext>
              </a:extLst>
            </p:cNvPr>
            <p:cNvSpPr>
              <a:spLocks/>
            </p:cNvSpPr>
            <p:nvPr>
              <p:custDataLst>
                <p:tags r:id="rId9"/>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1120601 w 1486"/>
                <a:gd name="T121" fmla="*/ 306052 h 1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lnTo>
                    <a:pt x="951" y="287"/>
                  </a:lnTo>
                  <a:close/>
                </a:path>
              </a:pathLst>
            </a:custGeom>
            <a:grpFill/>
            <a:ln w="3175" cmpd="sng">
              <a:solidFill>
                <a:schemeClr val="bg1"/>
              </a:solidFill>
              <a:round/>
              <a:headEnd/>
              <a:tailEnd/>
            </a:ln>
          </p:spPr>
          <p:txBody>
            <a:bodyPr/>
            <a:lstStyle/>
            <a:p>
              <a:endParaRPr lang="da-DK"/>
            </a:p>
          </p:txBody>
        </p:sp>
        <p:sp>
          <p:nvSpPr>
            <p:cNvPr id="31" name="Freeform 1042">
              <a:extLst>
                <a:ext uri="{FF2B5EF4-FFF2-40B4-BE49-F238E27FC236}">
                  <a16:creationId xmlns:a16="http://schemas.microsoft.com/office/drawing/2014/main" id="{ECAEE93D-F819-565A-3965-BF6E2C4106F2}"/>
                </a:ext>
              </a:extLst>
            </p:cNvPr>
            <p:cNvSpPr>
              <a:spLocks/>
            </p:cNvSpPr>
            <p:nvPr>
              <p:custDataLst>
                <p:tags r:id="rId10"/>
              </p:custDataLst>
            </p:nvPr>
          </p:nvSpPr>
          <p:spPr bwMode="auto">
            <a:xfrm>
              <a:off x="2176185" y="4410650"/>
              <a:ext cx="1619686" cy="1232020"/>
            </a:xfrm>
            <a:custGeom>
              <a:avLst/>
              <a:gdLst>
                <a:gd name="T0" fmla="*/ 1019263 w 1486"/>
                <a:gd name="T1" fmla="*/ 277260 h 1249"/>
                <a:gd name="T2" fmla="*/ 919105 w 1486"/>
                <a:gd name="T3" fmla="*/ 243135 h 1249"/>
                <a:gd name="T4" fmla="*/ 797736 w 1486"/>
                <a:gd name="T5" fmla="*/ 198347 h 1249"/>
                <a:gd name="T6" fmla="*/ 715252 w 1486"/>
                <a:gd name="T7" fmla="*/ 167422 h 1249"/>
                <a:gd name="T8" fmla="*/ 595061 w 1486"/>
                <a:gd name="T9" fmla="*/ 121568 h 1249"/>
                <a:gd name="T10" fmla="*/ 493724 w 1486"/>
                <a:gd name="T11" fmla="*/ 90643 h 1249"/>
                <a:gd name="T12" fmla="*/ 391209 w 1486"/>
                <a:gd name="T13" fmla="*/ 30925 h 1249"/>
                <a:gd name="T14" fmla="*/ 322865 w 1486"/>
                <a:gd name="T15" fmla="*/ 0 h 1249"/>
                <a:gd name="T16" fmla="*/ 288693 w 1486"/>
                <a:gd name="T17" fmla="*/ 30925 h 1249"/>
                <a:gd name="T18" fmla="*/ 220349 w 1486"/>
                <a:gd name="T19" fmla="*/ 30925 h 1249"/>
                <a:gd name="T20" fmla="*/ 137866 w 1486"/>
                <a:gd name="T21" fmla="*/ 44788 h 1249"/>
                <a:gd name="T22" fmla="*/ 153184 w 1486"/>
                <a:gd name="T23" fmla="*/ 90643 h 1249"/>
                <a:gd name="T24" fmla="*/ 137866 w 1486"/>
                <a:gd name="T25" fmla="*/ 106638 h 1249"/>
                <a:gd name="T26" fmla="*/ 137866 w 1486"/>
                <a:gd name="T27" fmla="*/ 167422 h 1249"/>
                <a:gd name="T28" fmla="*/ 103694 w 1486"/>
                <a:gd name="T29" fmla="*/ 198347 h 1249"/>
                <a:gd name="T30" fmla="*/ 187356 w 1486"/>
                <a:gd name="T31" fmla="*/ 229272 h 1249"/>
                <a:gd name="T32" fmla="*/ 220349 w 1486"/>
                <a:gd name="T33" fmla="*/ 277260 h 1249"/>
                <a:gd name="T34" fmla="*/ 306368 w 1486"/>
                <a:gd name="T35" fmla="*/ 308185 h 1249"/>
                <a:gd name="T36" fmla="*/ 357037 w 1486"/>
                <a:gd name="T37" fmla="*/ 319915 h 1249"/>
                <a:gd name="T38" fmla="*/ 391209 w 1486"/>
                <a:gd name="T39" fmla="*/ 367902 h 1249"/>
                <a:gd name="T40" fmla="*/ 407705 w 1486"/>
                <a:gd name="T41" fmla="*/ 412690 h 1249"/>
                <a:gd name="T42" fmla="*/ 357037 w 1486"/>
                <a:gd name="T43" fmla="*/ 444682 h 1249"/>
                <a:gd name="T44" fmla="*/ 306368 w 1486"/>
                <a:gd name="T45" fmla="*/ 489470 h 1249"/>
                <a:gd name="T46" fmla="*/ 272196 w 1486"/>
                <a:gd name="T47" fmla="*/ 566250 h 1249"/>
                <a:gd name="T48" fmla="*/ 238025 w 1486"/>
                <a:gd name="T49" fmla="*/ 612104 h 1249"/>
                <a:gd name="T50" fmla="*/ 172038 w 1486"/>
                <a:gd name="T51" fmla="*/ 687817 h 1249"/>
                <a:gd name="T52" fmla="*/ 153184 w 1486"/>
                <a:gd name="T53" fmla="*/ 750734 h 1249"/>
                <a:gd name="T54" fmla="*/ 119012 w 1486"/>
                <a:gd name="T55" fmla="*/ 826447 h 1249"/>
                <a:gd name="T56" fmla="*/ 84840 w 1486"/>
                <a:gd name="T57" fmla="*/ 889364 h 1249"/>
                <a:gd name="T58" fmla="*/ 69522 w 1486"/>
                <a:gd name="T59" fmla="*/ 934152 h 1249"/>
                <a:gd name="T60" fmla="*/ 16497 w 1486"/>
                <a:gd name="T61" fmla="*/ 965077 h 1249"/>
                <a:gd name="T62" fmla="*/ 35350 w 1486"/>
                <a:gd name="T63" fmla="*/ 1039724 h 1249"/>
                <a:gd name="T64" fmla="*/ 119012 w 1486"/>
                <a:gd name="T65" fmla="*/ 1118636 h 1249"/>
                <a:gd name="T66" fmla="*/ 153184 w 1486"/>
                <a:gd name="T67" fmla="*/ 1163424 h 1249"/>
                <a:gd name="T68" fmla="*/ 119012 w 1486"/>
                <a:gd name="T69" fmla="*/ 1257266 h 1249"/>
                <a:gd name="T70" fmla="*/ 203853 w 1486"/>
                <a:gd name="T71" fmla="*/ 1299921 h 1249"/>
                <a:gd name="T72" fmla="*/ 306368 w 1486"/>
                <a:gd name="T73" fmla="*/ 1257266 h 1249"/>
                <a:gd name="T74" fmla="*/ 441877 w 1486"/>
                <a:gd name="T75" fmla="*/ 1257266 h 1249"/>
                <a:gd name="T76" fmla="*/ 595061 w 1486"/>
                <a:gd name="T77" fmla="*/ 1299921 h 1249"/>
                <a:gd name="T78" fmla="*/ 715252 w 1486"/>
                <a:gd name="T79" fmla="*/ 1314851 h 1249"/>
                <a:gd name="T80" fmla="*/ 765920 w 1486"/>
                <a:gd name="T81" fmla="*/ 1299921 h 1249"/>
                <a:gd name="T82" fmla="*/ 850761 w 1486"/>
                <a:gd name="T83" fmla="*/ 1240204 h 1249"/>
                <a:gd name="T84" fmla="*/ 985092 w 1486"/>
                <a:gd name="T85" fmla="*/ 1226341 h 1249"/>
                <a:gd name="T86" fmla="*/ 1038117 w 1486"/>
                <a:gd name="T87" fmla="*/ 1147429 h 1249"/>
                <a:gd name="T88" fmla="*/ 1138276 w 1486"/>
                <a:gd name="T89" fmla="*/ 1085578 h 1249"/>
                <a:gd name="T90" fmla="*/ 1122957 w 1486"/>
                <a:gd name="T91" fmla="*/ 996002 h 1249"/>
                <a:gd name="T92" fmla="*/ 1223116 w 1486"/>
                <a:gd name="T93" fmla="*/ 889364 h 1249"/>
                <a:gd name="T94" fmla="*/ 1344485 w 1486"/>
                <a:gd name="T95" fmla="*/ 810451 h 1249"/>
                <a:gd name="T96" fmla="*/ 1359803 w 1486"/>
                <a:gd name="T97" fmla="*/ 781659 h 1249"/>
                <a:gd name="T98" fmla="*/ 1495312 w 1486"/>
                <a:gd name="T99" fmla="*/ 764597 h 1249"/>
                <a:gd name="T100" fmla="*/ 1597828 w 1486"/>
                <a:gd name="T101" fmla="*/ 750734 h 1249"/>
                <a:gd name="T102" fmla="*/ 1700343 w 1486"/>
                <a:gd name="T103" fmla="*/ 719809 h 1249"/>
                <a:gd name="T104" fmla="*/ 1751012 w 1486"/>
                <a:gd name="T105" fmla="*/ 643029 h 1249"/>
                <a:gd name="T106" fmla="*/ 1700343 w 1486"/>
                <a:gd name="T107" fmla="*/ 597175 h 1249"/>
                <a:gd name="T108" fmla="*/ 1597828 w 1486"/>
                <a:gd name="T109" fmla="*/ 583312 h 1249"/>
                <a:gd name="T110" fmla="*/ 1512987 w 1486"/>
                <a:gd name="T111" fmla="*/ 551320 h 1249"/>
                <a:gd name="T112" fmla="*/ 1444644 w 1486"/>
                <a:gd name="T113" fmla="*/ 506532 h 1249"/>
                <a:gd name="T114" fmla="*/ 1344485 w 1486"/>
                <a:gd name="T115" fmla="*/ 475607 h 1249"/>
                <a:gd name="T116" fmla="*/ 1223116 w 1486"/>
                <a:gd name="T117" fmla="*/ 398827 h 1249"/>
                <a:gd name="T118" fmla="*/ 1154772 w 1486"/>
                <a:gd name="T119" fmla="*/ 35084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86" h="1249">
                  <a:moveTo>
                    <a:pt x="951" y="287"/>
                  </a:moveTo>
                  <a:lnTo>
                    <a:pt x="937" y="289"/>
                  </a:lnTo>
                  <a:lnTo>
                    <a:pt x="922" y="273"/>
                  </a:lnTo>
                  <a:lnTo>
                    <a:pt x="895" y="273"/>
                  </a:lnTo>
                  <a:lnTo>
                    <a:pt x="865" y="260"/>
                  </a:lnTo>
                  <a:lnTo>
                    <a:pt x="852" y="244"/>
                  </a:lnTo>
                  <a:lnTo>
                    <a:pt x="836" y="244"/>
                  </a:lnTo>
                  <a:lnTo>
                    <a:pt x="823" y="244"/>
                  </a:lnTo>
                  <a:lnTo>
                    <a:pt x="794" y="244"/>
                  </a:lnTo>
                  <a:lnTo>
                    <a:pt x="780" y="228"/>
                  </a:lnTo>
                  <a:lnTo>
                    <a:pt x="765" y="201"/>
                  </a:lnTo>
                  <a:lnTo>
                    <a:pt x="735" y="201"/>
                  </a:lnTo>
                  <a:lnTo>
                    <a:pt x="722" y="186"/>
                  </a:lnTo>
                  <a:lnTo>
                    <a:pt x="708" y="186"/>
                  </a:lnTo>
                  <a:lnTo>
                    <a:pt x="677" y="186"/>
                  </a:lnTo>
                  <a:lnTo>
                    <a:pt x="664" y="186"/>
                  </a:lnTo>
                  <a:lnTo>
                    <a:pt x="650" y="172"/>
                  </a:lnTo>
                  <a:lnTo>
                    <a:pt x="635" y="172"/>
                  </a:lnTo>
                  <a:lnTo>
                    <a:pt x="621" y="172"/>
                  </a:lnTo>
                  <a:lnTo>
                    <a:pt x="607" y="157"/>
                  </a:lnTo>
                  <a:lnTo>
                    <a:pt x="592" y="143"/>
                  </a:lnTo>
                  <a:lnTo>
                    <a:pt x="578" y="143"/>
                  </a:lnTo>
                  <a:lnTo>
                    <a:pt x="549" y="130"/>
                  </a:lnTo>
                  <a:lnTo>
                    <a:pt x="534" y="130"/>
                  </a:lnTo>
                  <a:lnTo>
                    <a:pt x="505" y="114"/>
                  </a:lnTo>
                  <a:lnTo>
                    <a:pt x="505" y="100"/>
                  </a:lnTo>
                  <a:lnTo>
                    <a:pt x="476" y="100"/>
                  </a:lnTo>
                  <a:lnTo>
                    <a:pt x="462" y="85"/>
                  </a:lnTo>
                  <a:lnTo>
                    <a:pt x="447" y="85"/>
                  </a:lnTo>
                  <a:lnTo>
                    <a:pt x="419" y="85"/>
                  </a:lnTo>
                  <a:lnTo>
                    <a:pt x="404" y="71"/>
                  </a:lnTo>
                  <a:lnTo>
                    <a:pt x="388" y="58"/>
                  </a:lnTo>
                  <a:lnTo>
                    <a:pt x="361" y="71"/>
                  </a:lnTo>
                  <a:lnTo>
                    <a:pt x="346" y="42"/>
                  </a:lnTo>
                  <a:lnTo>
                    <a:pt x="332" y="29"/>
                  </a:lnTo>
                  <a:lnTo>
                    <a:pt x="332" y="15"/>
                  </a:lnTo>
                  <a:lnTo>
                    <a:pt x="332" y="0"/>
                  </a:lnTo>
                  <a:lnTo>
                    <a:pt x="303" y="15"/>
                  </a:lnTo>
                  <a:lnTo>
                    <a:pt x="289" y="15"/>
                  </a:lnTo>
                  <a:lnTo>
                    <a:pt x="274" y="0"/>
                  </a:lnTo>
                  <a:lnTo>
                    <a:pt x="274" y="15"/>
                  </a:lnTo>
                  <a:lnTo>
                    <a:pt x="260" y="15"/>
                  </a:lnTo>
                  <a:lnTo>
                    <a:pt x="245" y="15"/>
                  </a:lnTo>
                  <a:lnTo>
                    <a:pt x="231" y="15"/>
                  </a:lnTo>
                  <a:lnTo>
                    <a:pt x="245" y="29"/>
                  </a:lnTo>
                  <a:lnTo>
                    <a:pt x="231" y="42"/>
                  </a:lnTo>
                  <a:lnTo>
                    <a:pt x="216" y="58"/>
                  </a:lnTo>
                  <a:lnTo>
                    <a:pt x="216" y="42"/>
                  </a:lnTo>
                  <a:lnTo>
                    <a:pt x="202" y="29"/>
                  </a:lnTo>
                  <a:lnTo>
                    <a:pt x="187" y="29"/>
                  </a:lnTo>
                  <a:lnTo>
                    <a:pt x="173" y="29"/>
                  </a:lnTo>
                  <a:lnTo>
                    <a:pt x="159" y="15"/>
                  </a:lnTo>
                  <a:lnTo>
                    <a:pt x="146" y="42"/>
                  </a:lnTo>
                  <a:lnTo>
                    <a:pt x="130" y="29"/>
                  </a:lnTo>
                  <a:lnTo>
                    <a:pt x="117" y="42"/>
                  </a:lnTo>
                  <a:lnTo>
                    <a:pt x="101" y="58"/>
                  </a:lnTo>
                  <a:lnTo>
                    <a:pt x="117" y="71"/>
                  </a:lnTo>
                  <a:lnTo>
                    <a:pt x="117" y="85"/>
                  </a:lnTo>
                  <a:lnTo>
                    <a:pt x="130" y="71"/>
                  </a:lnTo>
                  <a:lnTo>
                    <a:pt x="130" y="85"/>
                  </a:lnTo>
                  <a:lnTo>
                    <a:pt x="117" y="100"/>
                  </a:lnTo>
                  <a:lnTo>
                    <a:pt x="101" y="100"/>
                  </a:lnTo>
                  <a:lnTo>
                    <a:pt x="101" y="114"/>
                  </a:lnTo>
                  <a:lnTo>
                    <a:pt x="117" y="114"/>
                  </a:lnTo>
                  <a:lnTo>
                    <a:pt x="117" y="100"/>
                  </a:lnTo>
                  <a:lnTo>
                    <a:pt x="146" y="100"/>
                  </a:lnTo>
                  <a:lnTo>
                    <a:pt x="146" y="114"/>
                  </a:lnTo>
                  <a:lnTo>
                    <a:pt x="130" y="130"/>
                  </a:lnTo>
                  <a:lnTo>
                    <a:pt x="130" y="143"/>
                  </a:lnTo>
                  <a:lnTo>
                    <a:pt x="117" y="157"/>
                  </a:lnTo>
                  <a:lnTo>
                    <a:pt x="130" y="157"/>
                  </a:lnTo>
                  <a:lnTo>
                    <a:pt x="130" y="172"/>
                  </a:lnTo>
                  <a:lnTo>
                    <a:pt x="117" y="186"/>
                  </a:lnTo>
                  <a:lnTo>
                    <a:pt x="101" y="172"/>
                  </a:lnTo>
                  <a:lnTo>
                    <a:pt x="88" y="186"/>
                  </a:lnTo>
                  <a:lnTo>
                    <a:pt x="88" y="215"/>
                  </a:lnTo>
                  <a:lnTo>
                    <a:pt x="117" y="215"/>
                  </a:lnTo>
                  <a:lnTo>
                    <a:pt x="130" y="215"/>
                  </a:lnTo>
                  <a:lnTo>
                    <a:pt x="130" y="201"/>
                  </a:lnTo>
                  <a:lnTo>
                    <a:pt x="159" y="215"/>
                  </a:lnTo>
                  <a:lnTo>
                    <a:pt x="173" y="215"/>
                  </a:lnTo>
                  <a:lnTo>
                    <a:pt x="173" y="228"/>
                  </a:lnTo>
                  <a:lnTo>
                    <a:pt x="173" y="244"/>
                  </a:lnTo>
                  <a:lnTo>
                    <a:pt x="173" y="260"/>
                  </a:lnTo>
                  <a:lnTo>
                    <a:pt x="187" y="260"/>
                  </a:lnTo>
                  <a:lnTo>
                    <a:pt x="202" y="260"/>
                  </a:lnTo>
                  <a:lnTo>
                    <a:pt x="216" y="260"/>
                  </a:lnTo>
                  <a:lnTo>
                    <a:pt x="231" y="273"/>
                  </a:lnTo>
                  <a:lnTo>
                    <a:pt x="245" y="273"/>
                  </a:lnTo>
                  <a:lnTo>
                    <a:pt x="260" y="289"/>
                  </a:lnTo>
                  <a:lnTo>
                    <a:pt x="274" y="300"/>
                  </a:lnTo>
                  <a:lnTo>
                    <a:pt x="274" y="289"/>
                  </a:lnTo>
                  <a:lnTo>
                    <a:pt x="289" y="289"/>
                  </a:lnTo>
                  <a:lnTo>
                    <a:pt x="303" y="289"/>
                  </a:lnTo>
                  <a:lnTo>
                    <a:pt x="303" y="300"/>
                  </a:lnTo>
                  <a:lnTo>
                    <a:pt x="317" y="300"/>
                  </a:lnTo>
                  <a:lnTo>
                    <a:pt x="332" y="300"/>
                  </a:lnTo>
                  <a:lnTo>
                    <a:pt x="346" y="316"/>
                  </a:lnTo>
                  <a:lnTo>
                    <a:pt x="332" y="329"/>
                  </a:lnTo>
                  <a:lnTo>
                    <a:pt x="332" y="345"/>
                  </a:lnTo>
                  <a:lnTo>
                    <a:pt x="332" y="358"/>
                  </a:lnTo>
                  <a:lnTo>
                    <a:pt x="346" y="358"/>
                  </a:lnTo>
                  <a:lnTo>
                    <a:pt x="361" y="374"/>
                  </a:lnTo>
                  <a:lnTo>
                    <a:pt x="361" y="387"/>
                  </a:lnTo>
                  <a:lnTo>
                    <a:pt x="346" y="387"/>
                  </a:lnTo>
                  <a:lnTo>
                    <a:pt x="346" y="401"/>
                  </a:lnTo>
                  <a:lnTo>
                    <a:pt x="332" y="401"/>
                  </a:lnTo>
                  <a:lnTo>
                    <a:pt x="317" y="401"/>
                  </a:lnTo>
                  <a:lnTo>
                    <a:pt x="317" y="417"/>
                  </a:lnTo>
                  <a:lnTo>
                    <a:pt x="303" y="417"/>
                  </a:lnTo>
                  <a:lnTo>
                    <a:pt x="289" y="417"/>
                  </a:lnTo>
                  <a:lnTo>
                    <a:pt x="289" y="430"/>
                  </a:lnTo>
                  <a:lnTo>
                    <a:pt x="274" y="430"/>
                  </a:lnTo>
                  <a:lnTo>
                    <a:pt x="260" y="446"/>
                  </a:lnTo>
                  <a:lnTo>
                    <a:pt x="260" y="459"/>
                  </a:lnTo>
                  <a:lnTo>
                    <a:pt x="245" y="475"/>
                  </a:lnTo>
                  <a:lnTo>
                    <a:pt x="245" y="486"/>
                  </a:lnTo>
                  <a:lnTo>
                    <a:pt x="231" y="502"/>
                  </a:lnTo>
                  <a:lnTo>
                    <a:pt x="231" y="517"/>
                  </a:lnTo>
                  <a:lnTo>
                    <a:pt x="231" y="531"/>
                  </a:lnTo>
                  <a:lnTo>
                    <a:pt x="231" y="547"/>
                  </a:lnTo>
                  <a:lnTo>
                    <a:pt x="231" y="560"/>
                  </a:lnTo>
                  <a:lnTo>
                    <a:pt x="216" y="560"/>
                  </a:lnTo>
                  <a:lnTo>
                    <a:pt x="202" y="560"/>
                  </a:lnTo>
                  <a:lnTo>
                    <a:pt x="202" y="574"/>
                  </a:lnTo>
                  <a:lnTo>
                    <a:pt x="173" y="603"/>
                  </a:lnTo>
                  <a:lnTo>
                    <a:pt x="173" y="618"/>
                  </a:lnTo>
                  <a:lnTo>
                    <a:pt x="159" y="632"/>
                  </a:lnTo>
                  <a:lnTo>
                    <a:pt x="159" y="645"/>
                  </a:lnTo>
                  <a:lnTo>
                    <a:pt x="146" y="645"/>
                  </a:lnTo>
                  <a:lnTo>
                    <a:pt x="117" y="632"/>
                  </a:lnTo>
                  <a:lnTo>
                    <a:pt x="117" y="661"/>
                  </a:lnTo>
                  <a:lnTo>
                    <a:pt x="117" y="675"/>
                  </a:lnTo>
                  <a:lnTo>
                    <a:pt x="117" y="690"/>
                  </a:lnTo>
                  <a:lnTo>
                    <a:pt x="130" y="704"/>
                  </a:lnTo>
                  <a:lnTo>
                    <a:pt x="130" y="717"/>
                  </a:lnTo>
                  <a:lnTo>
                    <a:pt x="130" y="733"/>
                  </a:lnTo>
                  <a:lnTo>
                    <a:pt x="117" y="746"/>
                  </a:lnTo>
                  <a:lnTo>
                    <a:pt x="101" y="760"/>
                  </a:lnTo>
                  <a:lnTo>
                    <a:pt x="101" y="775"/>
                  </a:lnTo>
                  <a:lnTo>
                    <a:pt x="88" y="775"/>
                  </a:lnTo>
                  <a:lnTo>
                    <a:pt x="72" y="789"/>
                  </a:lnTo>
                  <a:lnTo>
                    <a:pt x="72" y="804"/>
                  </a:lnTo>
                  <a:lnTo>
                    <a:pt x="59" y="818"/>
                  </a:lnTo>
                  <a:lnTo>
                    <a:pt x="72" y="834"/>
                  </a:lnTo>
                  <a:lnTo>
                    <a:pt x="88" y="834"/>
                  </a:lnTo>
                  <a:lnTo>
                    <a:pt x="88" y="847"/>
                  </a:lnTo>
                  <a:lnTo>
                    <a:pt x="88" y="861"/>
                  </a:lnTo>
                  <a:lnTo>
                    <a:pt x="72" y="861"/>
                  </a:lnTo>
                  <a:lnTo>
                    <a:pt x="59" y="876"/>
                  </a:lnTo>
                  <a:lnTo>
                    <a:pt x="43" y="876"/>
                  </a:lnTo>
                  <a:lnTo>
                    <a:pt x="30" y="876"/>
                  </a:lnTo>
                  <a:lnTo>
                    <a:pt x="30" y="890"/>
                  </a:lnTo>
                  <a:lnTo>
                    <a:pt x="14" y="890"/>
                  </a:lnTo>
                  <a:lnTo>
                    <a:pt x="14" y="905"/>
                  </a:lnTo>
                  <a:lnTo>
                    <a:pt x="0" y="919"/>
                  </a:lnTo>
                  <a:lnTo>
                    <a:pt x="0" y="946"/>
                  </a:lnTo>
                  <a:lnTo>
                    <a:pt x="0" y="975"/>
                  </a:lnTo>
                  <a:lnTo>
                    <a:pt x="14" y="975"/>
                  </a:lnTo>
                  <a:lnTo>
                    <a:pt x="30" y="975"/>
                  </a:lnTo>
                  <a:lnTo>
                    <a:pt x="43" y="991"/>
                  </a:lnTo>
                  <a:lnTo>
                    <a:pt x="59" y="1004"/>
                  </a:lnTo>
                  <a:lnTo>
                    <a:pt x="72" y="1018"/>
                  </a:lnTo>
                  <a:lnTo>
                    <a:pt x="72" y="1033"/>
                  </a:lnTo>
                  <a:lnTo>
                    <a:pt x="101" y="1049"/>
                  </a:lnTo>
                  <a:lnTo>
                    <a:pt x="117" y="1062"/>
                  </a:lnTo>
                  <a:lnTo>
                    <a:pt x="117" y="1076"/>
                  </a:lnTo>
                  <a:lnTo>
                    <a:pt x="101" y="1091"/>
                  </a:lnTo>
                  <a:lnTo>
                    <a:pt x="117" y="1091"/>
                  </a:lnTo>
                  <a:lnTo>
                    <a:pt x="130" y="1091"/>
                  </a:lnTo>
                  <a:lnTo>
                    <a:pt x="117" y="1121"/>
                  </a:lnTo>
                  <a:lnTo>
                    <a:pt x="117" y="1134"/>
                  </a:lnTo>
                  <a:lnTo>
                    <a:pt x="88" y="1134"/>
                  </a:lnTo>
                  <a:lnTo>
                    <a:pt x="101" y="1150"/>
                  </a:lnTo>
                  <a:lnTo>
                    <a:pt x="101" y="1179"/>
                  </a:lnTo>
                  <a:lnTo>
                    <a:pt x="117" y="1192"/>
                  </a:lnTo>
                  <a:lnTo>
                    <a:pt x="130" y="1192"/>
                  </a:lnTo>
                  <a:lnTo>
                    <a:pt x="146" y="1206"/>
                  </a:lnTo>
                  <a:lnTo>
                    <a:pt x="159" y="1233"/>
                  </a:lnTo>
                  <a:lnTo>
                    <a:pt x="173" y="1219"/>
                  </a:lnTo>
                  <a:lnTo>
                    <a:pt x="173" y="1206"/>
                  </a:lnTo>
                  <a:lnTo>
                    <a:pt x="202" y="1192"/>
                  </a:lnTo>
                  <a:lnTo>
                    <a:pt x="231" y="1192"/>
                  </a:lnTo>
                  <a:lnTo>
                    <a:pt x="245" y="1179"/>
                  </a:lnTo>
                  <a:lnTo>
                    <a:pt x="260" y="1179"/>
                  </a:lnTo>
                  <a:lnTo>
                    <a:pt x="289" y="1192"/>
                  </a:lnTo>
                  <a:lnTo>
                    <a:pt x="303" y="1192"/>
                  </a:lnTo>
                  <a:lnTo>
                    <a:pt x="317" y="1163"/>
                  </a:lnTo>
                  <a:lnTo>
                    <a:pt x="346" y="1163"/>
                  </a:lnTo>
                  <a:lnTo>
                    <a:pt x="375" y="1179"/>
                  </a:lnTo>
                  <a:lnTo>
                    <a:pt x="388" y="1192"/>
                  </a:lnTo>
                  <a:lnTo>
                    <a:pt x="419" y="1192"/>
                  </a:lnTo>
                  <a:lnTo>
                    <a:pt x="433" y="1219"/>
                  </a:lnTo>
                  <a:lnTo>
                    <a:pt x="462" y="1219"/>
                  </a:lnTo>
                  <a:lnTo>
                    <a:pt x="505" y="1219"/>
                  </a:lnTo>
                  <a:lnTo>
                    <a:pt x="520" y="1219"/>
                  </a:lnTo>
                  <a:lnTo>
                    <a:pt x="549" y="1233"/>
                  </a:lnTo>
                  <a:lnTo>
                    <a:pt x="563" y="1219"/>
                  </a:lnTo>
                  <a:lnTo>
                    <a:pt x="592" y="1219"/>
                  </a:lnTo>
                  <a:lnTo>
                    <a:pt x="607" y="1233"/>
                  </a:lnTo>
                  <a:lnTo>
                    <a:pt x="621" y="1233"/>
                  </a:lnTo>
                  <a:lnTo>
                    <a:pt x="621" y="1249"/>
                  </a:lnTo>
                  <a:lnTo>
                    <a:pt x="635" y="1249"/>
                  </a:lnTo>
                  <a:lnTo>
                    <a:pt x="650" y="1233"/>
                  </a:lnTo>
                  <a:lnTo>
                    <a:pt x="650" y="1219"/>
                  </a:lnTo>
                  <a:lnTo>
                    <a:pt x="650" y="1206"/>
                  </a:lnTo>
                  <a:lnTo>
                    <a:pt x="677" y="1192"/>
                  </a:lnTo>
                  <a:lnTo>
                    <a:pt x="677" y="1179"/>
                  </a:lnTo>
                  <a:lnTo>
                    <a:pt x="708" y="1179"/>
                  </a:lnTo>
                  <a:lnTo>
                    <a:pt x="722" y="1163"/>
                  </a:lnTo>
                  <a:lnTo>
                    <a:pt x="751" y="1163"/>
                  </a:lnTo>
                  <a:lnTo>
                    <a:pt x="765" y="1163"/>
                  </a:lnTo>
                  <a:lnTo>
                    <a:pt x="794" y="1179"/>
                  </a:lnTo>
                  <a:lnTo>
                    <a:pt x="809" y="1163"/>
                  </a:lnTo>
                  <a:lnTo>
                    <a:pt x="836" y="1150"/>
                  </a:lnTo>
                  <a:lnTo>
                    <a:pt x="836" y="1121"/>
                  </a:lnTo>
                  <a:lnTo>
                    <a:pt x="852" y="1107"/>
                  </a:lnTo>
                  <a:lnTo>
                    <a:pt x="865" y="1107"/>
                  </a:lnTo>
                  <a:lnTo>
                    <a:pt x="881" y="1091"/>
                  </a:lnTo>
                  <a:lnTo>
                    <a:pt x="881" y="1076"/>
                  </a:lnTo>
                  <a:lnTo>
                    <a:pt x="910" y="1062"/>
                  </a:lnTo>
                  <a:lnTo>
                    <a:pt x="922" y="1062"/>
                  </a:lnTo>
                  <a:lnTo>
                    <a:pt x="953" y="1062"/>
                  </a:lnTo>
                  <a:lnTo>
                    <a:pt x="980" y="1033"/>
                  </a:lnTo>
                  <a:lnTo>
                    <a:pt x="966" y="1018"/>
                  </a:lnTo>
                  <a:lnTo>
                    <a:pt x="966" y="1004"/>
                  </a:lnTo>
                  <a:lnTo>
                    <a:pt x="953" y="991"/>
                  </a:lnTo>
                  <a:lnTo>
                    <a:pt x="953" y="975"/>
                  </a:lnTo>
                  <a:lnTo>
                    <a:pt x="953" y="962"/>
                  </a:lnTo>
                  <a:lnTo>
                    <a:pt x="953" y="934"/>
                  </a:lnTo>
                  <a:lnTo>
                    <a:pt x="953" y="905"/>
                  </a:lnTo>
                  <a:lnTo>
                    <a:pt x="966" y="890"/>
                  </a:lnTo>
                  <a:lnTo>
                    <a:pt x="980" y="876"/>
                  </a:lnTo>
                  <a:lnTo>
                    <a:pt x="1009" y="861"/>
                  </a:lnTo>
                  <a:lnTo>
                    <a:pt x="1038" y="834"/>
                  </a:lnTo>
                  <a:lnTo>
                    <a:pt x="1054" y="834"/>
                  </a:lnTo>
                  <a:lnTo>
                    <a:pt x="1069" y="818"/>
                  </a:lnTo>
                  <a:lnTo>
                    <a:pt x="1098" y="789"/>
                  </a:lnTo>
                  <a:lnTo>
                    <a:pt x="1110" y="775"/>
                  </a:lnTo>
                  <a:lnTo>
                    <a:pt x="1141" y="760"/>
                  </a:lnTo>
                  <a:lnTo>
                    <a:pt x="1154" y="760"/>
                  </a:lnTo>
                  <a:lnTo>
                    <a:pt x="1141" y="760"/>
                  </a:lnTo>
                  <a:lnTo>
                    <a:pt x="1141" y="746"/>
                  </a:lnTo>
                  <a:lnTo>
                    <a:pt x="1154" y="746"/>
                  </a:lnTo>
                  <a:lnTo>
                    <a:pt x="1154" y="733"/>
                  </a:lnTo>
                  <a:lnTo>
                    <a:pt x="1170" y="717"/>
                  </a:lnTo>
                  <a:lnTo>
                    <a:pt x="1183" y="717"/>
                  </a:lnTo>
                  <a:lnTo>
                    <a:pt x="1211" y="717"/>
                  </a:lnTo>
                  <a:lnTo>
                    <a:pt x="1240" y="717"/>
                  </a:lnTo>
                  <a:lnTo>
                    <a:pt x="1269" y="717"/>
                  </a:lnTo>
                  <a:lnTo>
                    <a:pt x="1284" y="717"/>
                  </a:lnTo>
                  <a:lnTo>
                    <a:pt x="1298" y="717"/>
                  </a:lnTo>
                  <a:lnTo>
                    <a:pt x="1313" y="717"/>
                  </a:lnTo>
                  <a:lnTo>
                    <a:pt x="1341" y="704"/>
                  </a:lnTo>
                  <a:lnTo>
                    <a:pt x="1356" y="704"/>
                  </a:lnTo>
                  <a:lnTo>
                    <a:pt x="1370" y="690"/>
                  </a:lnTo>
                  <a:lnTo>
                    <a:pt x="1399" y="690"/>
                  </a:lnTo>
                  <a:lnTo>
                    <a:pt x="1414" y="690"/>
                  </a:lnTo>
                  <a:lnTo>
                    <a:pt x="1428" y="675"/>
                  </a:lnTo>
                  <a:lnTo>
                    <a:pt x="1443" y="675"/>
                  </a:lnTo>
                  <a:lnTo>
                    <a:pt x="1457" y="661"/>
                  </a:lnTo>
                  <a:lnTo>
                    <a:pt x="1472" y="645"/>
                  </a:lnTo>
                  <a:lnTo>
                    <a:pt x="1472" y="632"/>
                  </a:lnTo>
                  <a:lnTo>
                    <a:pt x="1486" y="618"/>
                  </a:lnTo>
                  <a:lnTo>
                    <a:pt x="1486" y="603"/>
                  </a:lnTo>
                  <a:lnTo>
                    <a:pt x="1486" y="574"/>
                  </a:lnTo>
                  <a:lnTo>
                    <a:pt x="1478" y="564"/>
                  </a:lnTo>
                  <a:lnTo>
                    <a:pt x="1472" y="574"/>
                  </a:lnTo>
                  <a:lnTo>
                    <a:pt x="1457" y="574"/>
                  </a:lnTo>
                  <a:lnTo>
                    <a:pt x="1443" y="560"/>
                  </a:lnTo>
                  <a:lnTo>
                    <a:pt x="1428" y="574"/>
                  </a:lnTo>
                  <a:lnTo>
                    <a:pt x="1414" y="560"/>
                  </a:lnTo>
                  <a:lnTo>
                    <a:pt x="1385" y="560"/>
                  </a:lnTo>
                  <a:lnTo>
                    <a:pt x="1370" y="560"/>
                  </a:lnTo>
                  <a:lnTo>
                    <a:pt x="1356" y="547"/>
                  </a:lnTo>
                  <a:lnTo>
                    <a:pt x="1341" y="531"/>
                  </a:lnTo>
                  <a:lnTo>
                    <a:pt x="1327" y="531"/>
                  </a:lnTo>
                  <a:lnTo>
                    <a:pt x="1313" y="531"/>
                  </a:lnTo>
                  <a:lnTo>
                    <a:pt x="1298" y="531"/>
                  </a:lnTo>
                  <a:lnTo>
                    <a:pt x="1284" y="517"/>
                  </a:lnTo>
                  <a:lnTo>
                    <a:pt x="1288" y="498"/>
                  </a:lnTo>
                  <a:lnTo>
                    <a:pt x="1277" y="486"/>
                  </a:lnTo>
                  <a:lnTo>
                    <a:pt x="1265" y="473"/>
                  </a:lnTo>
                  <a:lnTo>
                    <a:pt x="1244" y="459"/>
                  </a:lnTo>
                  <a:lnTo>
                    <a:pt x="1226" y="475"/>
                  </a:lnTo>
                  <a:lnTo>
                    <a:pt x="1197" y="475"/>
                  </a:lnTo>
                  <a:lnTo>
                    <a:pt x="1197" y="459"/>
                  </a:lnTo>
                  <a:lnTo>
                    <a:pt x="1183" y="459"/>
                  </a:lnTo>
                  <a:lnTo>
                    <a:pt x="1154" y="446"/>
                  </a:lnTo>
                  <a:lnTo>
                    <a:pt x="1141" y="446"/>
                  </a:lnTo>
                  <a:lnTo>
                    <a:pt x="1110" y="430"/>
                  </a:lnTo>
                  <a:lnTo>
                    <a:pt x="1110" y="417"/>
                  </a:lnTo>
                  <a:lnTo>
                    <a:pt x="1083" y="401"/>
                  </a:lnTo>
                  <a:lnTo>
                    <a:pt x="1069" y="401"/>
                  </a:lnTo>
                  <a:lnTo>
                    <a:pt x="1038" y="374"/>
                  </a:lnTo>
                  <a:lnTo>
                    <a:pt x="1024" y="374"/>
                  </a:lnTo>
                  <a:lnTo>
                    <a:pt x="1009" y="358"/>
                  </a:lnTo>
                  <a:lnTo>
                    <a:pt x="995" y="345"/>
                  </a:lnTo>
                  <a:lnTo>
                    <a:pt x="980" y="345"/>
                  </a:lnTo>
                  <a:lnTo>
                    <a:pt x="980" y="329"/>
                  </a:lnTo>
                  <a:lnTo>
                    <a:pt x="980" y="316"/>
                  </a:lnTo>
                  <a:lnTo>
                    <a:pt x="966" y="300"/>
                  </a:lnTo>
                  <a:lnTo>
                    <a:pt x="953" y="289"/>
                  </a:lnTo>
                </a:path>
              </a:pathLst>
            </a:custGeom>
            <a:grpFill/>
            <a:ln w="3175" cmpd="sng">
              <a:solidFill>
                <a:schemeClr val="bg1"/>
              </a:solidFill>
              <a:prstDash val="solid"/>
              <a:round/>
              <a:headEnd/>
              <a:tailEnd/>
            </a:ln>
          </p:spPr>
          <p:txBody>
            <a:bodyPr/>
            <a:lstStyle/>
            <a:p>
              <a:endParaRPr lang="da-DK"/>
            </a:p>
          </p:txBody>
        </p:sp>
        <p:sp>
          <p:nvSpPr>
            <p:cNvPr id="32" name="Freeform 1043">
              <a:extLst>
                <a:ext uri="{FF2B5EF4-FFF2-40B4-BE49-F238E27FC236}">
                  <a16:creationId xmlns:a16="http://schemas.microsoft.com/office/drawing/2014/main" id="{05396187-FB74-C7EF-7B88-61781A11FE1B}"/>
                </a:ext>
              </a:extLst>
            </p:cNvPr>
            <p:cNvSpPr>
              <a:spLocks/>
            </p:cNvSpPr>
            <p:nvPr>
              <p:custDataLst>
                <p:tags r:id="rId11"/>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255607 w 562"/>
                <a:gd name="T97" fmla="*/ 822780 h 7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close/>
                </a:path>
              </a:pathLst>
            </a:custGeom>
            <a:grpFill/>
            <a:ln w="3175" cmpd="sng">
              <a:solidFill>
                <a:schemeClr val="bg1"/>
              </a:solidFill>
              <a:round/>
              <a:headEnd/>
              <a:tailEnd/>
            </a:ln>
          </p:spPr>
          <p:txBody>
            <a:bodyPr/>
            <a:lstStyle/>
            <a:p>
              <a:endParaRPr lang="da-DK"/>
            </a:p>
          </p:txBody>
        </p:sp>
        <p:sp>
          <p:nvSpPr>
            <p:cNvPr id="33" name="Freeform 1044">
              <a:extLst>
                <a:ext uri="{FF2B5EF4-FFF2-40B4-BE49-F238E27FC236}">
                  <a16:creationId xmlns:a16="http://schemas.microsoft.com/office/drawing/2014/main" id="{9908B3AF-CC90-22DF-08C4-7C7C5B6BC298}"/>
                </a:ext>
              </a:extLst>
            </p:cNvPr>
            <p:cNvSpPr>
              <a:spLocks/>
            </p:cNvSpPr>
            <p:nvPr>
              <p:custDataLst>
                <p:tags r:id="rId12"/>
              </p:custDataLst>
            </p:nvPr>
          </p:nvSpPr>
          <p:spPr bwMode="auto">
            <a:xfrm>
              <a:off x="1957387" y="4607420"/>
              <a:ext cx="612339" cy="776804"/>
            </a:xfrm>
            <a:custGeom>
              <a:avLst/>
              <a:gdLst>
                <a:gd name="T0" fmla="*/ 187288 w 562"/>
                <a:gd name="T1" fmla="*/ 839788 h 790"/>
                <a:gd name="T2" fmla="*/ 153129 w 562"/>
                <a:gd name="T3" fmla="*/ 822780 h 790"/>
                <a:gd name="T4" fmla="*/ 85988 w 562"/>
                <a:gd name="T5" fmla="*/ 794078 h 790"/>
                <a:gd name="T6" fmla="*/ 49472 w 562"/>
                <a:gd name="T7" fmla="*/ 763250 h 790"/>
                <a:gd name="T8" fmla="*/ 0 w 562"/>
                <a:gd name="T9" fmla="*/ 777070 h 790"/>
                <a:gd name="T10" fmla="*/ 34160 w 562"/>
                <a:gd name="T11" fmla="*/ 717540 h 790"/>
                <a:gd name="T12" fmla="*/ 68319 w 562"/>
                <a:gd name="T13" fmla="*/ 686713 h 790"/>
                <a:gd name="T14" fmla="*/ 68319 w 562"/>
                <a:gd name="T15" fmla="*/ 625057 h 790"/>
                <a:gd name="T16" fmla="*/ 102479 w 562"/>
                <a:gd name="T17" fmla="*/ 579347 h 790"/>
                <a:gd name="T18" fmla="*/ 118969 w 562"/>
                <a:gd name="T19" fmla="*/ 517692 h 790"/>
                <a:gd name="T20" fmla="*/ 49472 w 562"/>
                <a:gd name="T21" fmla="*/ 503873 h 790"/>
                <a:gd name="T22" fmla="*/ 68319 w 562"/>
                <a:gd name="T23" fmla="*/ 458163 h 790"/>
                <a:gd name="T24" fmla="*/ 85988 w 562"/>
                <a:gd name="T25" fmla="*/ 412453 h 790"/>
                <a:gd name="T26" fmla="*/ 134282 w 562"/>
                <a:gd name="T27" fmla="*/ 381625 h 790"/>
                <a:gd name="T28" fmla="*/ 187288 w 562"/>
                <a:gd name="T29" fmla="*/ 335915 h 790"/>
                <a:gd name="T30" fmla="*/ 221448 w 562"/>
                <a:gd name="T31" fmla="*/ 289142 h 790"/>
                <a:gd name="T32" fmla="*/ 255607 w 562"/>
                <a:gd name="T33" fmla="*/ 212605 h 790"/>
                <a:gd name="T34" fmla="*/ 289767 w 562"/>
                <a:gd name="T35" fmla="*/ 153075 h 790"/>
                <a:gd name="T36" fmla="*/ 321571 w 562"/>
                <a:gd name="T37" fmla="*/ 91420 h 790"/>
                <a:gd name="T38" fmla="*/ 340417 w 562"/>
                <a:gd name="T39" fmla="*/ 45710 h 790"/>
                <a:gd name="T40" fmla="*/ 374577 w 562"/>
                <a:gd name="T41" fmla="*/ 14882 h 790"/>
                <a:gd name="T42" fmla="*/ 424049 w 562"/>
                <a:gd name="T43" fmla="*/ 14882 h 790"/>
                <a:gd name="T44" fmla="*/ 440540 w 562"/>
                <a:gd name="T45" fmla="*/ 45710 h 790"/>
                <a:gd name="T46" fmla="*/ 474700 w 562"/>
                <a:gd name="T47" fmla="*/ 60592 h 790"/>
                <a:gd name="T48" fmla="*/ 527706 w 562"/>
                <a:gd name="T49" fmla="*/ 76538 h 790"/>
                <a:gd name="T50" fmla="*/ 559509 w 562"/>
                <a:gd name="T51" fmla="*/ 91420 h 790"/>
                <a:gd name="T52" fmla="*/ 596025 w 562"/>
                <a:gd name="T53" fmla="*/ 105239 h 790"/>
                <a:gd name="T54" fmla="*/ 644319 w 562"/>
                <a:gd name="T55" fmla="*/ 122248 h 790"/>
                <a:gd name="T56" fmla="*/ 630184 w 562"/>
                <a:gd name="T57" fmla="*/ 166895 h 790"/>
                <a:gd name="T58" fmla="*/ 661988 w 562"/>
                <a:gd name="T59" fmla="*/ 198785 h 790"/>
                <a:gd name="T60" fmla="*/ 630184 w 562"/>
                <a:gd name="T61" fmla="*/ 212605 h 790"/>
                <a:gd name="T62" fmla="*/ 596025 w 562"/>
                <a:gd name="T63" fmla="*/ 229613 h 790"/>
                <a:gd name="T64" fmla="*/ 559509 w 562"/>
                <a:gd name="T65" fmla="*/ 245558 h 790"/>
                <a:gd name="T66" fmla="*/ 527706 w 562"/>
                <a:gd name="T67" fmla="*/ 289142 h 790"/>
                <a:gd name="T68" fmla="*/ 508859 w 562"/>
                <a:gd name="T69" fmla="*/ 335915 h 790"/>
                <a:gd name="T70" fmla="*/ 508859 w 562"/>
                <a:gd name="T71" fmla="*/ 381625 h 790"/>
                <a:gd name="T72" fmla="*/ 474700 w 562"/>
                <a:gd name="T73" fmla="*/ 396507 h 790"/>
                <a:gd name="T74" fmla="*/ 424049 w 562"/>
                <a:gd name="T75" fmla="*/ 458163 h 790"/>
                <a:gd name="T76" fmla="*/ 374577 w 562"/>
                <a:gd name="T77" fmla="*/ 458163 h 790"/>
                <a:gd name="T78" fmla="*/ 374577 w 562"/>
                <a:gd name="T79" fmla="*/ 517692 h 790"/>
                <a:gd name="T80" fmla="*/ 389890 w 562"/>
                <a:gd name="T81" fmla="*/ 565528 h 790"/>
                <a:gd name="T82" fmla="*/ 355730 w 562"/>
                <a:gd name="T83" fmla="*/ 610175 h 790"/>
                <a:gd name="T84" fmla="*/ 321571 w 562"/>
                <a:gd name="T85" fmla="*/ 642066 h 790"/>
                <a:gd name="T86" fmla="*/ 340417 w 562"/>
                <a:gd name="T87" fmla="*/ 672893 h 790"/>
                <a:gd name="T88" fmla="*/ 321571 w 562"/>
                <a:gd name="T89" fmla="*/ 701595 h 790"/>
                <a:gd name="T90" fmla="*/ 270920 w 562"/>
                <a:gd name="T91" fmla="*/ 717540 h 790"/>
                <a:gd name="T92" fmla="*/ 255607 w 562"/>
                <a:gd name="T93" fmla="*/ 746242 h 790"/>
                <a:gd name="T94" fmla="*/ 239117 w 562"/>
                <a:gd name="T95" fmla="*/ 82278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path>
              </a:pathLst>
            </a:custGeom>
            <a:grpFill/>
            <a:ln w="3175" cmpd="sng">
              <a:solidFill>
                <a:schemeClr val="bg1"/>
              </a:solidFill>
              <a:prstDash val="solid"/>
              <a:round/>
              <a:headEnd/>
              <a:tailEnd/>
            </a:ln>
          </p:spPr>
          <p:txBody>
            <a:bodyPr/>
            <a:lstStyle/>
            <a:p>
              <a:endParaRPr lang="da-DK"/>
            </a:p>
          </p:txBody>
        </p:sp>
        <p:sp>
          <p:nvSpPr>
            <p:cNvPr id="34" name="Freeform 1045">
              <a:extLst>
                <a:ext uri="{FF2B5EF4-FFF2-40B4-BE49-F238E27FC236}">
                  <a16:creationId xmlns:a16="http://schemas.microsoft.com/office/drawing/2014/main" id="{14D82521-4582-C892-0124-F6313E64E355}"/>
                </a:ext>
              </a:extLst>
            </p:cNvPr>
            <p:cNvSpPr>
              <a:spLocks/>
            </p:cNvSpPr>
            <p:nvPr>
              <p:custDataLst>
                <p:tags r:id="rId13"/>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85285 w 130"/>
                <a:gd name="T47" fmla="*/ 92075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close/>
                </a:path>
              </a:pathLst>
            </a:custGeom>
            <a:grpFill/>
            <a:ln w="3175" cmpd="sng">
              <a:solidFill>
                <a:schemeClr val="bg1"/>
              </a:solidFill>
              <a:round/>
              <a:headEnd/>
              <a:tailEnd/>
            </a:ln>
          </p:spPr>
          <p:txBody>
            <a:bodyPr/>
            <a:lstStyle/>
            <a:p>
              <a:endParaRPr lang="da-DK"/>
            </a:p>
          </p:txBody>
        </p:sp>
        <p:sp>
          <p:nvSpPr>
            <p:cNvPr id="35" name="Freeform 1046">
              <a:extLst>
                <a:ext uri="{FF2B5EF4-FFF2-40B4-BE49-F238E27FC236}">
                  <a16:creationId xmlns:a16="http://schemas.microsoft.com/office/drawing/2014/main" id="{23C0EFB9-F40D-DD43-8A9F-6B77FF211B94}"/>
                </a:ext>
              </a:extLst>
            </p:cNvPr>
            <p:cNvSpPr>
              <a:spLocks/>
            </p:cNvSpPr>
            <p:nvPr>
              <p:custDataLst>
                <p:tags r:id="rId14"/>
              </p:custDataLst>
            </p:nvPr>
          </p:nvSpPr>
          <p:spPr bwMode="auto">
            <a:xfrm>
              <a:off x="3591759" y="5347514"/>
              <a:ext cx="142438" cy="85169"/>
            </a:xfrm>
            <a:custGeom>
              <a:avLst/>
              <a:gdLst>
                <a:gd name="T0" fmla="*/ 85285 w 130"/>
                <a:gd name="T1" fmla="*/ 92075 h 87"/>
                <a:gd name="T2" fmla="*/ 85285 w 130"/>
                <a:gd name="T3" fmla="*/ 78317 h 87"/>
                <a:gd name="T4" fmla="*/ 68702 w 130"/>
                <a:gd name="T5" fmla="*/ 78317 h 87"/>
                <a:gd name="T6" fmla="*/ 49750 w 130"/>
                <a:gd name="T7" fmla="*/ 46567 h 87"/>
                <a:gd name="T8" fmla="*/ 34351 w 130"/>
                <a:gd name="T9" fmla="*/ 46567 h 87"/>
                <a:gd name="T10" fmla="*/ 0 w 130"/>
                <a:gd name="T11" fmla="*/ 46567 h 87"/>
                <a:gd name="T12" fmla="*/ 0 w 130"/>
                <a:gd name="T13" fmla="*/ 30692 h 87"/>
                <a:gd name="T14" fmla="*/ 15399 w 130"/>
                <a:gd name="T15" fmla="*/ 30692 h 87"/>
                <a:gd name="T16" fmla="*/ 34351 w 130"/>
                <a:gd name="T17" fmla="*/ 30692 h 87"/>
                <a:gd name="T18" fmla="*/ 68702 w 130"/>
                <a:gd name="T19" fmla="*/ 30692 h 87"/>
                <a:gd name="T20" fmla="*/ 68702 w 130"/>
                <a:gd name="T21" fmla="*/ 15875 h 87"/>
                <a:gd name="T22" fmla="*/ 85285 w 130"/>
                <a:gd name="T23" fmla="*/ 0 h 87"/>
                <a:gd name="T24" fmla="*/ 100684 w 130"/>
                <a:gd name="T25" fmla="*/ 15875 h 87"/>
                <a:gd name="T26" fmla="*/ 100684 w 130"/>
                <a:gd name="T27" fmla="*/ 30692 h 87"/>
                <a:gd name="T28" fmla="*/ 119636 w 130"/>
                <a:gd name="T29" fmla="*/ 46567 h 87"/>
                <a:gd name="T30" fmla="*/ 135035 w 130"/>
                <a:gd name="T31" fmla="*/ 46567 h 87"/>
                <a:gd name="T32" fmla="*/ 153987 w 130"/>
                <a:gd name="T33" fmla="*/ 46567 h 87"/>
                <a:gd name="T34" fmla="*/ 135035 w 130"/>
                <a:gd name="T35" fmla="*/ 61383 h 87"/>
                <a:gd name="T36" fmla="*/ 119636 w 130"/>
                <a:gd name="T37" fmla="*/ 61383 h 87"/>
                <a:gd name="T38" fmla="*/ 119636 w 130"/>
                <a:gd name="T39" fmla="*/ 78317 h 87"/>
                <a:gd name="T40" fmla="*/ 100684 w 130"/>
                <a:gd name="T41" fmla="*/ 92075 h 87"/>
                <a:gd name="T42" fmla="*/ 85285 w 130"/>
                <a:gd name="T43" fmla="*/ 92075 h 87"/>
                <a:gd name="T44" fmla="*/ 85285 w 130"/>
                <a:gd name="T45" fmla="*/ 9207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path>
              </a:pathLst>
            </a:custGeom>
            <a:grpFill/>
            <a:ln w="3175" cmpd="sng">
              <a:solidFill>
                <a:schemeClr val="bg1"/>
              </a:solidFill>
              <a:prstDash val="solid"/>
              <a:round/>
              <a:headEnd/>
              <a:tailEnd/>
            </a:ln>
          </p:spPr>
          <p:txBody>
            <a:bodyPr/>
            <a:lstStyle/>
            <a:p>
              <a:endParaRPr lang="da-DK"/>
            </a:p>
          </p:txBody>
        </p:sp>
        <p:sp>
          <p:nvSpPr>
            <p:cNvPr id="36" name="Freeform 1047">
              <a:extLst>
                <a:ext uri="{FF2B5EF4-FFF2-40B4-BE49-F238E27FC236}">
                  <a16:creationId xmlns:a16="http://schemas.microsoft.com/office/drawing/2014/main" id="{EF150D07-CBA6-50DB-00DC-819581C9BE7C}"/>
                </a:ext>
              </a:extLst>
            </p:cNvPr>
            <p:cNvSpPr>
              <a:spLocks/>
            </p:cNvSpPr>
            <p:nvPr>
              <p:custDataLst>
                <p:tags r:id="rId15"/>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55426 w 58"/>
                <a:gd name="T27" fmla="*/ 4921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close/>
                </a:path>
              </a:pathLst>
            </a:custGeom>
            <a:grpFill/>
            <a:ln w="3175" cmpd="sng">
              <a:solidFill>
                <a:schemeClr val="bg1"/>
              </a:solidFill>
              <a:round/>
              <a:headEnd/>
              <a:tailEnd/>
            </a:ln>
          </p:spPr>
          <p:txBody>
            <a:bodyPr/>
            <a:lstStyle/>
            <a:p>
              <a:endParaRPr lang="da-DK"/>
            </a:p>
          </p:txBody>
        </p:sp>
        <p:sp>
          <p:nvSpPr>
            <p:cNvPr id="37" name="Freeform 1048">
              <a:extLst>
                <a:ext uri="{FF2B5EF4-FFF2-40B4-BE49-F238E27FC236}">
                  <a16:creationId xmlns:a16="http://schemas.microsoft.com/office/drawing/2014/main" id="{9FAE58EC-697E-7FC6-36EA-1BF30CF4ED22}"/>
                </a:ext>
              </a:extLst>
            </p:cNvPr>
            <p:cNvSpPr>
              <a:spLocks/>
            </p:cNvSpPr>
            <p:nvPr>
              <p:custDataLst>
                <p:tags r:id="rId16"/>
              </p:custDataLst>
            </p:nvPr>
          </p:nvSpPr>
          <p:spPr bwMode="auto">
            <a:xfrm>
              <a:off x="3795871" y="5347514"/>
              <a:ext cx="66080" cy="45522"/>
            </a:xfrm>
            <a:custGeom>
              <a:avLst/>
              <a:gdLst>
                <a:gd name="T0" fmla="*/ 55426 w 58"/>
                <a:gd name="T1" fmla="*/ 49213 h 44"/>
                <a:gd name="T2" fmla="*/ 35719 w 58"/>
                <a:gd name="T3" fmla="*/ 32436 h 44"/>
                <a:gd name="T4" fmla="*/ 18475 w 58"/>
                <a:gd name="T5" fmla="*/ 32436 h 44"/>
                <a:gd name="T6" fmla="*/ 0 w 58"/>
                <a:gd name="T7" fmla="*/ 16777 h 44"/>
                <a:gd name="T8" fmla="*/ 0 w 58"/>
                <a:gd name="T9" fmla="*/ 0 h 44"/>
                <a:gd name="T10" fmla="*/ 18475 w 58"/>
                <a:gd name="T11" fmla="*/ 0 h 44"/>
                <a:gd name="T12" fmla="*/ 35719 w 58"/>
                <a:gd name="T13" fmla="*/ 16777 h 44"/>
                <a:gd name="T14" fmla="*/ 55426 w 58"/>
                <a:gd name="T15" fmla="*/ 16777 h 44"/>
                <a:gd name="T16" fmla="*/ 71438 w 58"/>
                <a:gd name="T17" fmla="*/ 16777 h 44"/>
                <a:gd name="T18" fmla="*/ 71438 w 58"/>
                <a:gd name="T19" fmla="*/ 32436 h 44"/>
                <a:gd name="T20" fmla="*/ 71438 w 58"/>
                <a:gd name="T21" fmla="*/ 49213 h 44"/>
                <a:gd name="T22" fmla="*/ 55426 w 58"/>
                <a:gd name="T23" fmla="*/ 49213 h 44"/>
                <a:gd name="T24" fmla="*/ 55426 w 58"/>
                <a:gd name="T25" fmla="*/ 49213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path>
              </a:pathLst>
            </a:custGeom>
            <a:grpFill/>
            <a:ln w="3175" cmpd="sng">
              <a:solidFill>
                <a:schemeClr val="bg1"/>
              </a:solidFill>
              <a:prstDash val="solid"/>
              <a:round/>
              <a:headEnd/>
              <a:tailEnd/>
            </a:ln>
          </p:spPr>
          <p:txBody>
            <a:bodyPr/>
            <a:lstStyle/>
            <a:p>
              <a:endParaRPr lang="da-DK"/>
            </a:p>
          </p:txBody>
        </p:sp>
        <p:sp>
          <p:nvSpPr>
            <p:cNvPr id="38" name="Freeform 1049">
              <a:extLst>
                <a:ext uri="{FF2B5EF4-FFF2-40B4-BE49-F238E27FC236}">
                  <a16:creationId xmlns:a16="http://schemas.microsoft.com/office/drawing/2014/main" id="{49A9B85C-363C-24CC-770A-2D03B186DEC4}"/>
                </a:ext>
              </a:extLst>
            </p:cNvPr>
            <p:cNvSpPr>
              <a:spLocks/>
            </p:cNvSpPr>
            <p:nvPr>
              <p:custDataLst>
                <p:tags r:id="rId17"/>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34925 w 58"/>
                <a:gd name="T25" fmla="*/ 31049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close/>
                </a:path>
              </a:pathLst>
            </a:custGeom>
            <a:grpFill/>
            <a:ln w="3175" cmpd="sng">
              <a:solidFill>
                <a:schemeClr val="bg1"/>
              </a:solidFill>
              <a:round/>
              <a:headEnd/>
              <a:tailEnd/>
            </a:ln>
          </p:spPr>
          <p:txBody>
            <a:bodyPr/>
            <a:lstStyle/>
            <a:p>
              <a:endParaRPr lang="da-DK"/>
            </a:p>
          </p:txBody>
        </p:sp>
        <p:sp>
          <p:nvSpPr>
            <p:cNvPr id="39" name="Freeform 1050">
              <a:extLst>
                <a:ext uri="{FF2B5EF4-FFF2-40B4-BE49-F238E27FC236}">
                  <a16:creationId xmlns:a16="http://schemas.microsoft.com/office/drawing/2014/main" id="{6F9A617D-EA9E-8438-01E5-C8761CA2173B}"/>
                </a:ext>
              </a:extLst>
            </p:cNvPr>
            <p:cNvSpPr>
              <a:spLocks/>
            </p:cNvSpPr>
            <p:nvPr>
              <p:custDataLst>
                <p:tags r:id="rId18"/>
              </p:custDataLst>
            </p:nvPr>
          </p:nvSpPr>
          <p:spPr bwMode="auto">
            <a:xfrm>
              <a:off x="3386177" y="5432682"/>
              <a:ext cx="64611" cy="42585"/>
            </a:xfrm>
            <a:custGeom>
              <a:avLst/>
              <a:gdLst>
                <a:gd name="T0" fmla="*/ 34925 w 58"/>
                <a:gd name="T1" fmla="*/ 31049 h 43"/>
                <a:gd name="T2" fmla="*/ 50581 w 58"/>
                <a:gd name="T3" fmla="*/ 31049 h 43"/>
                <a:gd name="T4" fmla="*/ 50581 w 58"/>
                <a:gd name="T5" fmla="*/ 14989 h 43"/>
                <a:gd name="T6" fmla="*/ 69850 w 58"/>
                <a:gd name="T7" fmla="*/ 0 h 43"/>
                <a:gd name="T8" fmla="*/ 50581 w 58"/>
                <a:gd name="T9" fmla="*/ 0 h 43"/>
                <a:gd name="T10" fmla="*/ 34925 w 58"/>
                <a:gd name="T11" fmla="*/ 0 h 43"/>
                <a:gd name="T12" fmla="*/ 34925 w 58"/>
                <a:gd name="T13" fmla="*/ 14989 h 43"/>
                <a:gd name="T14" fmla="*/ 0 w 58"/>
                <a:gd name="T15" fmla="*/ 14989 h 43"/>
                <a:gd name="T16" fmla="*/ 0 w 58"/>
                <a:gd name="T17" fmla="*/ 31049 h 43"/>
                <a:gd name="T18" fmla="*/ 0 w 58"/>
                <a:gd name="T19" fmla="*/ 46038 h 43"/>
                <a:gd name="T20" fmla="*/ 34925 w 58"/>
                <a:gd name="T21" fmla="*/ 31049 h 43"/>
                <a:gd name="T22" fmla="*/ 34925 w 58"/>
                <a:gd name="T23" fmla="*/ 31049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path>
              </a:pathLst>
            </a:custGeom>
            <a:grpFill/>
            <a:ln w="3175" cmpd="sng">
              <a:solidFill>
                <a:schemeClr val="bg1"/>
              </a:solidFill>
              <a:prstDash val="solid"/>
              <a:round/>
              <a:headEnd/>
              <a:tailEnd/>
            </a:ln>
          </p:spPr>
          <p:txBody>
            <a:bodyPr/>
            <a:lstStyle/>
            <a:p>
              <a:endParaRPr lang="da-DK"/>
            </a:p>
          </p:txBody>
        </p:sp>
        <p:sp>
          <p:nvSpPr>
            <p:cNvPr id="40" name="Freeform 1051">
              <a:extLst>
                <a:ext uri="{FF2B5EF4-FFF2-40B4-BE49-F238E27FC236}">
                  <a16:creationId xmlns:a16="http://schemas.microsoft.com/office/drawing/2014/main" id="{74412A55-1FE2-252A-5A53-477639A458E5}"/>
                </a:ext>
              </a:extLst>
            </p:cNvPr>
            <p:cNvSpPr>
              <a:spLocks/>
            </p:cNvSpPr>
            <p:nvPr>
              <p:custDataLst>
                <p:tags r:id="rId19"/>
              </p:custDataLst>
            </p:nvPr>
          </p:nvSpPr>
          <p:spPr bwMode="auto">
            <a:xfrm>
              <a:off x="2757686" y="2777748"/>
              <a:ext cx="580032" cy="496332"/>
            </a:xfrm>
            <a:custGeom>
              <a:avLst/>
              <a:gdLst>
                <a:gd name="T0" fmla="*/ 610591 w 533"/>
                <a:gd name="T1" fmla="*/ 259770 h 504"/>
                <a:gd name="T2" fmla="*/ 592944 w 533"/>
                <a:gd name="T3" fmla="*/ 290645 h 504"/>
                <a:gd name="T4" fmla="*/ 576474 w 533"/>
                <a:gd name="T5" fmla="*/ 352394 h 504"/>
                <a:gd name="T6" fmla="*/ 561179 w 533"/>
                <a:gd name="T7" fmla="*/ 398173 h 504"/>
                <a:gd name="T8" fmla="*/ 561179 w 533"/>
                <a:gd name="T9" fmla="*/ 443952 h 504"/>
                <a:gd name="T10" fmla="*/ 527061 w 533"/>
                <a:gd name="T11" fmla="*/ 474826 h 504"/>
                <a:gd name="T12" fmla="*/ 492944 w 533"/>
                <a:gd name="T13" fmla="*/ 505701 h 504"/>
                <a:gd name="T14" fmla="*/ 408237 w 533"/>
                <a:gd name="T15" fmla="*/ 505701 h 504"/>
                <a:gd name="T16" fmla="*/ 321178 w 533"/>
                <a:gd name="T17" fmla="*/ 505701 h 504"/>
                <a:gd name="T18" fmla="*/ 287060 w 533"/>
                <a:gd name="T19" fmla="*/ 505701 h 504"/>
                <a:gd name="T20" fmla="*/ 252942 w 533"/>
                <a:gd name="T21" fmla="*/ 536575 h 504"/>
                <a:gd name="T22" fmla="*/ 187060 w 533"/>
                <a:gd name="T23" fmla="*/ 536575 h 504"/>
                <a:gd name="T24" fmla="*/ 118824 w 533"/>
                <a:gd name="T25" fmla="*/ 519541 h 504"/>
                <a:gd name="T26" fmla="*/ 83530 w 533"/>
                <a:gd name="T27" fmla="*/ 505701 h 504"/>
                <a:gd name="T28" fmla="*/ 83530 w 533"/>
                <a:gd name="T29" fmla="*/ 505701 h 504"/>
                <a:gd name="T30" fmla="*/ 51765 w 533"/>
                <a:gd name="T31" fmla="*/ 490796 h 504"/>
                <a:gd name="T32" fmla="*/ 51765 w 533"/>
                <a:gd name="T33" fmla="*/ 459921 h 504"/>
                <a:gd name="T34" fmla="*/ 68236 w 533"/>
                <a:gd name="T35" fmla="*/ 459921 h 504"/>
                <a:gd name="T36" fmla="*/ 15294 w 533"/>
                <a:gd name="T37" fmla="*/ 459921 h 504"/>
                <a:gd name="T38" fmla="*/ 34118 w 533"/>
                <a:gd name="T39" fmla="*/ 412013 h 504"/>
                <a:gd name="T40" fmla="*/ 83530 w 533"/>
                <a:gd name="T41" fmla="*/ 412013 h 504"/>
                <a:gd name="T42" fmla="*/ 15294 w 533"/>
                <a:gd name="T43" fmla="*/ 398173 h 504"/>
                <a:gd name="T44" fmla="*/ 51765 w 533"/>
                <a:gd name="T45" fmla="*/ 367298 h 504"/>
                <a:gd name="T46" fmla="*/ 134118 w 533"/>
                <a:gd name="T47" fmla="*/ 352394 h 504"/>
                <a:gd name="T48" fmla="*/ 204707 w 533"/>
                <a:gd name="T49" fmla="*/ 367298 h 504"/>
                <a:gd name="T50" fmla="*/ 187060 w 533"/>
                <a:gd name="T51" fmla="*/ 352394 h 504"/>
                <a:gd name="T52" fmla="*/ 118824 w 533"/>
                <a:gd name="T53" fmla="*/ 352394 h 504"/>
                <a:gd name="T54" fmla="*/ 168236 w 533"/>
                <a:gd name="T55" fmla="*/ 307679 h 504"/>
                <a:gd name="T56" fmla="*/ 252942 w 533"/>
                <a:gd name="T57" fmla="*/ 275740 h 504"/>
                <a:gd name="T58" fmla="*/ 204707 w 533"/>
                <a:gd name="T59" fmla="*/ 259770 h 504"/>
                <a:gd name="T60" fmla="*/ 168236 w 533"/>
                <a:gd name="T61" fmla="*/ 244866 h 504"/>
                <a:gd name="T62" fmla="*/ 168236 w 533"/>
                <a:gd name="T63" fmla="*/ 185246 h 504"/>
                <a:gd name="T64" fmla="*/ 221178 w 533"/>
                <a:gd name="T65" fmla="*/ 152243 h 504"/>
                <a:gd name="T66" fmla="*/ 221178 w 533"/>
                <a:gd name="T67" fmla="*/ 138402 h 504"/>
                <a:gd name="T68" fmla="*/ 221178 w 533"/>
                <a:gd name="T69" fmla="*/ 108593 h 504"/>
                <a:gd name="T70" fmla="*/ 287060 w 533"/>
                <a:gd name="T71" fmla="*/ 92623 h 504"/>
                <a:gd name="T72" fmla="*/ 340002 w 533"/>
                <a:gd name="T73" fmla="*/ 138402 h 504"/>
                <a:gd name="T74" fmla="*/ 389414 w 533"/>
                <a:gd name="T75" fmla="*/ 123497 h 504"/>
                <a:gd name="T76" fmla="*/ 440002 w 533"/>
                <a:gd name="T77" fmla="*/ 92623 h 504"/>
                <a:gd name="T78" fmla="*/ 374120 w 533"/>
                <a:gd name="T79" fmla="*/ 61749 h 504"/>
                <a:gd name="T80" fmla="*/ 458826 w 533"/>
                <a:gd name="T81" fmla="*/ 30874 h 504"/>
                <a:gd name="T82" fmla="*/ 492944 w 533"/>
                <a:gd name="T83" fmla="*/ 15969 h 504"/>
                <a:gd name="T84" fmla="*/ 561179 w 533"/>
                <a:gd name="T85" fmla="*/ 15969 h 504"/>
                <a:gd name="T86" fmla="*/ 592944 w 533"/>
                <a:gd name="T87" fmla="*/ 0 h 504"/>
                <a:gd name="T88" fmla="*/ 610591 w 533"/>
                <a:gd name="T89" fmla="*/ 46844 h 504"/>
                <a:gd name="T90" fmla="*/ 592944 w 533"/>
                <a:gd name="T91" fmla="*/ 61749 h 504"/>
                <a:gd name="T92" fmla="*/ 527061 w 533"/>
                <a:gd name="T93" fmla="*/ 75589 h 504"/>
                <a:gd name="T94" fmla="*/ 492944 w 533"/>
                <a:gd name="T95" fmla="*/ 123497 h 504"/>
                <a:gd name="T96" fmla="*/ 458826 w 533"/>
                <a:gd name="T97" fmla="*/ 123497 h 504"/>
                <a:gd name="T98" fmla="*/ 474120 w 533"/>
                <a:gd name="T99" fmla="*/ 169277 h 504"/>
                <a:gd name="T100" fmla="*/ 527061 w 533"/>
                <a:gd name="T101" fmla="*/ 185246 h 504"/>
                <a:gd name="T102" fmla="*/ 592944 w 533"/>
                <a:gd name="T103" fmla="*/ 200151 h 504"/>
                <a:gd name="T104" fmla="*/ 627062 w 533"/>
                <a:gd name="T105" fmla="*/ 259770 h 5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close/>
                </a:path>
              </a:pathLst>
            </a:custGeom>
            <a:grpFill/>
            <a:ln w="3175" cmpd="sng">
              <a:solidFill>
                <a:schemeClr val="bg1"/>
              </a:solidFill>
              <a:round/>
              <a:headEnd/>
              <a:tailEnd/>
            </a:ln>
          </p:spPr>
          <p:txBody>
            <a:bodyPr/>
            <a:lstStyle/>
            <a:p>
              <a:endParaRPr lang="da-DK"/>
            </a:p>
          </p:txBody>
        </p:sp>
        <p:sp>
          <p:nvSpPr>
            <p:cNvPr id="41" name="Freeform 1053">
              <a:extLst>
                <a:ext uri="{FF2B5EF4-FFF2-40B4-BE49-F238E27FC236}">
                  <a16:creationId xmlns:a16="http://schemas.microsoft.com/office/drawing/2014/main" id="{1B0CBEA6-F946-9B8F-4088-228F4F62CFDB}"/>
                </a:ext>
              </a:extLst>
            </p:cNvPr>
            <p:cNvSpPr>
              <a:spLocks/>
            </p:cNvSpPr>
            <p:nvPr>
              <p:custDataLst>
                <p:tags r:id="rId20"/>
              </p:custDataLst>
            </p:nvPr>
          </p:nvSpPr>
          <p:spPr bwMode="auto">
            <a:xfrm>
              <a:off x="3162976" y="2823270"/>
              <a:ext cx="267256" cy="196771"/>
            </a:xfrm>
            <a:custGeom>
              <a:avLst/>
              <a:gdLst>
                <a:gd name="T0" fmla="*/ 153935 w 244"/>
                <a:gd name="T1" fmla="*/ 14743 h 202"/>
                <a:gd name="T2" fmla="*/ 136174 w 244"/>
                <a:gd name="T3" fmla="*/ 14743 h 202"/>
                <a:gd name="T4" fmla="*/ 100650 w 244"/>
                <a:gd name="T5" fmla="*/ 14743 h 202"/>
                <a:gd name="T6" fmla="*/ 85257 w 244"/>
                <a:gd name="T7" fmla="*/ 30540 h 202"/>
                <a:gd name="T8" fmla="*/ 68679 w 244"/>
                <a:gd name="T9" fmla="*/ 45283 h 202"/>
                <a:gd name="T10" fmla="*/ 68679 w 244"/>
                <a:gd name="T11" fmla="*/ 61079 h 202"/>
                <a:gd name="T12" fmla="*/ 50917 w 244"/>
                <a:gd name="T13" fmla="*/ 75823 h 202"/>
                <a:gd name="T14" fmla="*/ 31971 w 244"/>
                <a:gd name="T15" fmla="*/ 61079 h 202"/>
                <a:gd name="T16" fmla="*/ 16578 w 244"/>
                <a:gd name="T17" fmla="*/ 61079 h 202"/>
                <a:gd name="T18" fmla="*/ 16578 w 244"/>
                <a:gd name="T19" fmla="*/ 75823 h 202"/>
                <a:gd name="T20" fmla="*/ 0 w 244"/>
                <a:gd name="T21" fmla="*/ 91619 h 202"/>
                <a:gd name="T22" fmla="*/ 16578 w 244"/>
                <a:gd name="T23" fmla="*/ 106363 h 202"/>
                <a:gd name="T24" fmla="*/ 31971 w 244"/>
                <a:gd name="T25" fmla="*/ 121106 h 202"/>
                <a:gd name="T26" fmla="*/ 50917 w 244"/>
                <a:gd name="T27" fmla="*/ 136902 h 202"/>
                <a:gd name="T28" fmla="*/ 68679 w 244"/>
                <a:gd name="T29" fmla="*/ 151646 h 202"/>
                <a:gd name="T30" fmla="*/ 85257 w 244"/>
                <a:gd name="T31" fmla="*/ 136902 h 202"/>
                <a:gd name="T32" fmla="*/ 100650 w 244"/>
                <a:gd name="T33" fmla="*/ 136902 h 202"/>
                <a:gd name="T34" fmla="*/ 119596 w 244"/>
                <a:gd name="T35" fmla="*/ 136902 h 202"/>
                <a:gd name="T36" fmla="*/ 153935 w 244"/>
                <a:gd name="T37" fmla="*/ 151646 h 202"/>
                <a:gd name="T38" fmla="*/ 153935 w 244"/>
                <a:gd name="T39" fmla="*/ 167442 h 202"/>
                <a:gd name="T40" fmla="*/ 170513 w 244"/>
                <a:gd name="T41" fmla="*/ 182185 h 202"/>
                <a:gd name="T42" fmla="*/ 188275 w 244"/>
                <a:gd name="T43" fmla="*/ 212725 h 202"/>
                <a:gd name="T44" fmla="*/ 204853 w 244"/>
                <a:gd name="T45" fmla="*/ 197982 h 202"/>
                <a:gd name="T46" fmla="*/ 220246 w 244"/>
                <a:gd name="T47" fmla="*/ 182185 h 202"/>
                <a:gd name="T48" fmla="*/ 239192 w 244"/>
                <a:gd name="T49" fmla="*/ 182185 h 202"/>
                <a:gd name="T50" fmla="*/ 254586 w 244"/>
                <a:gd name="T51" fmla="*/ 182185 h 202"/>
                <a:gd name="T52" fmla="*/ 254586 w 244"/>
                <a:gd name="T53" fmla="*/ 151646 h 202"/>
                <a:gd name="T54" fmla="*/ 273531 w 244"/>
                <a:gd name="T55" fmla="*/ 136902 h 202"/>
                <a:gd name="T56" fmla="*/ 273531 w 244"/>
                <a:gd name="T57" fmla="*/ 151646 h 202"/>
                <a:gd name="T58" fmla="*/ 273531 w 244"/>
                <a:gd name="T59" fmla="*/ 167442 h 202"/>
                <a:gd name="T60" fmla="*/ 288925 w 244"/>
                <a:gd name="T61" fmla="*/ 167442 h 202"/>
                <a:gd name="T62" fmla="*/ 288925 w 244"/>
                <a:gd name="T63" fmla="*/ 151646 h 202"/>
                <a:gd name="T64" fmla="*/ 288925 w 244"/>
                <a:gd name="T65" fmla="*/ 136902 h 202"/>
                <a:gd name="T66" fmla="*/ 273531 w 244"/>
                <a:gd name="T67" fmla="*/ 121106 h 202"/>
                <a:gd name="T68" fmla="*/ 254586 w 244"/>
                <a:gd name="T69" fmla="*/ 136902 h 202"/>
                <a:gd name="T70" fmla="*/ 239192 w 244"/>
                <a:gd name="T71" fmla="*/ 121106 h 202"/>
                <a:gd name="T72" fmla="*/ 254586 w 244"/>
                <a:gd name="T73" fmla="*/ 106363 h 202"/>
                <a:gd name="T74" fmla="*/ 273531 w 244"/>
                <a:gd name="T75" fmla="*/ 106363 h 202"/>
                <a:gd name="T76" fmla="*/ 273531 w 244"/>
                <a:gd name="T77" fmla="*/ 91619 h 202"/>
                <a:gd name="T78" fmla="*/ 273531 w 244"/>
                <a:gd name="T79" fmla="*/ 75823 h 202"/>
                <a:gd name="T80" fmla="*/ 254586 w 244"/>
                <a:gd name="T81" fmla="*/ 45283 h 202"/>
                <a:gd name="T82" fmla="*/ 254586 w 244"/>
                <a:gd name="T83" fmla="*/ 30540 h 202"/>
                <a:gd name="T84" fmla="*/ 254586 w 244"/>
                <a:gd name="T85" fmla="*/ 14743 h 202"/>
                <a:gd name="T86" fmla="*/ 239192 w 244"/>
                <a:gd name="T87" fmla="*/ 14743 h 202"/>
                <a:gd name="T88" fmla="*/ 220246 w 244"/>
                <a:gd name="T89" fmla="*/ 14743 h 202"/>
                <a:gd name="T90" fmla="*/ 204853 w 244"/>
                <a:gd name="T91" fmla="*/ 14743 h 202"/>
                <a:gd name="T92" fmla="*/ 204853 w 244"/>
                <a:gd name="T93" fmla="*/ 0 h 202"/>
                <a:gd name="T94" fmla="*/ 188275 w 244"/>
                <a:gd name="T95" fmla="*/ 0 h 202"/>
                <a:gd name="T96" fmla="*/ 170513 w 244"/>
                <a:gd name="T97" fmla="*/ 14743 h 202"/>
                <a:gd name="T98" fmla="*/ 153935 w 244"/>
                <a:gd name="T99" fmla="*/ 14743 h 202"/>
                <a:gd name="T100" fmla="*/ 153935 w 244"/>
                <a:gd name="T101" fmla="*/ 14743 h 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close/>
                </a:path>
              </a:pathLst>
            </a:custGeom>
            <a:grpFill/>
            <a:ln w="3175" cmpd="sng">
              <a:solidFill>
                <a:schemeClr val="bg1"/>
              </a:solidFill>
              <a:round/>
              <a:headEnd/>
              <a:tailEnd/>
            </a:ln>
          </p:spPr>
          <p:txBody>
            <a:bodyPr/>
            <a:lstStyle/>
            <a:p>
              <a:endParaRPr lang="da-DK"/>
            </a:p>
          </p:txBody>
        </p:sp>
        <p:sp>
          <p:nvSpPr>
            <p:cNvPr id="42" name="Freeform 1055">
              <a:extLst>
                <a:ext uri="{FF2B5EF4-FFF2-40B4-BE49-F238E27FC236}">
                  <a16:creationId xmlns:a16="http://schemas.microsoft.com/office/drawing/2014/main" id="{07FE7792-C3C9-C29A-33F1-B3870B5BBCC5}"/>
                </a:ext>
              </a:extLst>
            </p:cNvPr>
            <p:cNvSpPr>
              <a:spLocks/>
            </p:cNvSpPr>
            <p:nvPr>
              <p:custDataLst>
                <p:tags r:id="rId21"/>
              </p:custDataLst>
            </p:nvPr>
          </p:nvSpPr>
          <p:spPr bwMode="auto">
            <a:xfrm>
              <a:off x="4493379" y="5050888"/>
              <a:ext cx="121880" cy="205581"/>
            </a:xfrm>
            <a:custGeom>
              <a:avLst/>
              <a:gdLst>
                <a:gd name="T0" fmla="*/ 44320 w 110"/>
                <a:gd name="T1" fmla="*/ 207291 h 208"/>
                <a:gd name="T2" fmla="*/ 34737 w 110"/>
                <a:gd name="T3" fmla="*/ 203017 h 208"/>
                <a:gd name="T4" fmla="*/ 22759 w 110"/>
                <a:gd name="T5" fmla="*/ 191263 h 208"/>
                <a:gd name="T6" fmla="*/ 22759 w 110"/>
                <a:gd name="T7" fmla="*/ 174167 h 208"/>
                <a:gd name="T8" fmla="*/ 11978 w 110"/>
                <a:gd name="T9" fmla="*/ 160276 h 208"/>
                <a:gd name="T10" fmla="*/ 0 w 110"/>
                <a:gd name="T11" fmla="*/ 145317 h 208"/>
                <a:gd name="T12" fmla="*/ 11978 w 110"/>
                <a:gd name="T13" fmla="*/ 134632 h 208"/>
                <a:gd name="T14" fmla="*/ 11978 w 110"/>
                <a:gd name="T15" fmla="*/ 129290 h 208"/>
                <a:gd name="T16" fmla="*/ 11978 w 110"/>
                <a:gd name="T17" fmla="*/ 114331 h 208"/>
                <a:gd name="T18" fmla="*/ 4791 w 110"/>
                <a:gd name="T19" fmla="*/ 101508 h 208"/>
                <a:gd name="T20" fmla="*/ 0 w 110"/>
                <a:gd name="T21" fmla="*/ 83344 h 208"/>
                <a:gd name="T22" fmla="*/ 4791 w 110"/>
                <a:gd name="T23" fmla="*/ 66248 h 208"/>
                <a:gd name="T24" fmla="*/ 0 w 110"/>
                <a:gd name="T25" fmla="*/ 54494 h 208"/>
                <a:gd name="T26" fmla="*/ 11978 w 110"/>
                <a:gd name="T27" fmla="*/ 43809 h 208"/>
                <a:gd name="T28" fmla="*/ 27550 w 110"/>
                <a:gd name="T29" fmla="*/ 27781 h 208"/>
                <a:gd name="T30" fmla="*/ 46716 w 110"/>
                <a:gd name="T31" fmla="*/ 19233 h 208"/>
                <a:gd name="T32" fmla="*/ 53903 w 110"/>
                <a:gd name="T33" fmla="*/ 10685 h 208"/>
                <a:gd name="T34" fmla="*/ 62287 w 110"/>
                <a:gd name="T35" fmla="*/ 6411 h 208"/>
                <a:gd name="T36" fmla="*/ 81453 w 110"/>
                <a:gd name="T37" fmla="*/ 6411 h 208"/>
                <a:gd name="T38" fmla="*/ 97025 w 110"/>
                <a:gd name="T39" fmla="*/ 0 h 208"/>
                <a:gd name="T40" fmla="*/ 113794 w 110"/>
                <a:gd name="T41" fmla="*/ 4274 h 208"/>
                <a:gd name="T42" fmla="*/ 118586 w 110"/>
                <a:gd name="T43" fmla="*/ 0 h 208"/>
                <a:gd name="T44" fmla="*/ 125773 w 110"/>
                <a:gd name="T45" fmla="*/ 6411 h 208"/>
                <a:gd name="T46" fmla="*/ 131762 w 110"/>
                <a:gd name="T47" fmla="*/ 23507 h 208"/>
                <a:gd name="T48" fmla="*/ 131762 w 110"/>
                <a:gd name="T49" fmla="*/ 37398 h 208"/>
                <a:gd name="T50" fmla="*/ 131762 w 110"/>
                <a:gd name="T51" fmla="*/ 54494 h 208"/>
                <a:gd name="T52" fmla="*/ 131762 w 110"/>
                <a:gd name="T53" fmla="*/ 85481 h 208"/>
                <a:gd name="T54" fmla="*/ 116190 w 110"/>
                <a:gd name="T55" fmla="*/ 99371 h 208"/>
                <a:gd name="T56" fmla="*/ 97025 w 110"/>
                <a:gd name="T57" fmla="*/ 114331 h 208"/>
                <a:gd name="T58" fmla="*/ 97025 w 110"/>
                <a:gd name="T59" fmla="*/ 129290 h 208"/>
                <a:gd name="T60" fmla="*/ 97025 w 110"/>
                <a:gd name="T61" fmla="*/ 145317 h 208"/>
                <a:gd name="T62" fmla="*/ 81453 w 110"/>
                <a:gd name="T63" fmla="*/ 176304 h 208"/>
                <a:gd name="T64" fmla="*/ 81453 w 110"/>
                <a:gd name="T65" fmla="*/ 191263 h 208"/>
                <a:gd name="T66" fmla="*/ 62287 w 110"/>
                <a:gd name="T67" fmla="*/ 207291 h 208"/>
                <a:gd name="T68" fmla="*/ 62287 w 110"/>
                <a:gd name="T69" fmla="*/ 222250 h 208"/>
                <a:gd name="T70" fmla="*/ 46716 w 110"/>
                <a:gd name="T71" fmla="*/ 207291 h 208"/>
                <a:gd name="T72" fmla="*/ 46716 w 110"/>
                <a:gd name="T73" fmla="*/ 207291 h 208"/>
                <a:gd name="T74" fmla="*/ 44320 w 110"/>
                <a:gd name="T75" fmla="*/ 207291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7" y="194"/>
                  </a:lnTo>
                  <a:close/>
                </a:path>
              </a:pathLst>
            </a:custGeom>
            <a:grpFill/>
            <a:ln w="3175" cmpd="sng">
              <a:solidFill>
                <a:schemeClr val="bg1"/>
              </a:solidFill>
              <a:round/>
              <a:headEnd/>
              <a:tailEnd/>
            </a:ln>
          </p:spPr>
          <p:txBody>
            <a:bodyPr/>
            <a:lstStyle/>
            <a:p>
              <a:endParaRPr lang="da-DK"/>
            </a:p>
          </p:txBody>
        </p:sp>
        <p:sp>
          <p:nvSpPr>
            <p:cNvPr id="43" name="Freeform 1057">
              <a:extLst>
                <a:ext uri="{FF2B5EF4-FFF2-40B4-BE49-F238E27FC236}">
                  <a16:creationId xmlns:a16="http://schemas.microsoft.com/office/drawing/2014/main" id="{907C6866-FE14-26A6-271C-D3D2C56652B6}"/>
                </a:ext>
              </a:extLst>
            </p:cNvPr>
            <p:cNvSpPr>
              <a:spLocks/>
            </p:cNvSpPr>
            <p:nvPr>
              <p:custDataLst>
                <p:tags r:id="rId22"/>
              </p:custDataLst>
            </p:nvPr>
          </p:nvSpPr>
          <p:spPr bwMode="auto">
            <a:xfrm>
              <a:off x="4377373" y="5271154"/>
              <a:ext cx="221735" cy="336273"/>
            </a:xfrm>
            <a:custGeom>
              <a:avLst/>
              <a:gdLst>
                <a:gd name="T0" fmla="*/ 34077 w 204"/>
                <a:gd name="T1" fmla="*/ 60237 h 344"/>
                <a:gd name="T2" fmla="*/ 84605 w 204"/>
                <a:gd name="T3" fmla="*/ 45442 h 344"/>
                <a:gd name="T4" fmla="*/ 118681 w 204"/>
                <a:gd name="T5" fmla="*/ 28534 h 344"/>
                <a:gd name="T6" fmla="*/ 152758 w 204"/>
                <a:gd name="T7" fmla="*/ 28534 h 344"/>
                <a:gd name="T8" fmla="*/ 171559 w 204"/>
                <a:gd name="T9" fmla="*/ 14795 h 344"/>
                <a:gd name="T10" fmla="*/ 186835 w 204"/>
                <a:gd name="T11" fmla="*/ 14795 h 344"/>
                <a:gd name="T12" fmla="*/ 220912 w 204"/>
                <a:gd name="T13" fmla="*/ 45442 h 344"/>
                <a:gd name="T14" fmla="*/ 220912 w 204"/>
                <a:gd name="T15" fmla="*/ 60237 h 344"/>
                <a:gd name="T16" fmla="*/ 239713 w 204"/>
                <a:gd name="T17" fmla="*/ 73976 h 344"/>
                <a:gd name="T18" fmla="*/ 220912 w 204"/>
                <a:gd name="T19" fmla="*/ 121532 h 344"/>
                <a:gd name="T20" fmla="*/ 239713 w 204"/>
                <a:gd name="T21" fmla="*/ 135270 h 344"/>
                <a:gd name="T22" fmla="*/ 205636 w 204"/>
                <a:gd name="T23" fmla="*/ 150065 h 344"/>
                <a:gd name="T24" fmla="*/ 205636 w 204"/>
                <a:gd name="T25" fmla="*/ 180712 h 344"/>
                <a:gd name="T26" fmla="*/ 205636 w 204"/>
                <a:gd name="T27" fmla="*/ 211359 h 344"/>
                <a:gd name="T28" fmla="*/ 186835 w 204"/>
                <a:gd name="T29" fmla="*/ 256802 h 344"/>
                <a:gd name="T30" fmla="*/ 186835 w 204"/>
                <a:gd name="T31" fmla="*/ 318096 h 344"/>
                <a:gd name="T32" fmla="*/ 171559 w 204"/>
                <a:gd name="T33" fmla="*/ 348743 h 344"/>
                <a:gd name="T34" fmla="*/ 137482 w 204"/>
                <a:gd name="T35" fmla="*/ 333948 h 344"/>
                <a:gd name="T36" fmla="*/ 84605 w 204"/>
                <a:gd name="T37" fmla="*/ 333948 h 344"/>
                <a:gd name="T38" fmla="*/ 84605 w 204"/>
                <a:gd name="T39" fmla="*/ 363538 h 344"/>
                <a:gd name="T40" fmla="*/ 50528 w 204"/>
                <a:gd name="T41" fmla="*/ 363538 h 344"/>
                <a:gd name="T42" fmla="*/ 18801 w 204"/>
                <a:gd name="T43" fmla="*/ 333948 h 344"/>
                <a:gd name="T44" fmla="*/ 0 w 204"/>
                <a:gd name="T45" fmla="*/ 303301 h 344"/>
                <a:gd name="T46" fmla="*/ 0 w 204"/>
                <a:gd name="T47" fmla="*/ 256802 h 344"/>
                <a:gd name="T48" fmla="*/ 34077 w 204"/>
                <a:gd name="T49" fmla="*/ 242006 h 344"/>
                <a:gd name="T50" fmla="*/ 34077 w 204"/>
                <a:gd name="T51" fmla="*/ 211359 h 344"/>
                <a:gd name="T52" fmla="*/ 68154 w 204"/>
                <a:gd name="T53" fmla="*/ 180712 h 344"/>
                <a:gd name="T54" fmla="*/ 18801 w 204"/>
                <a:gd name="T55" fmla="*/ 180712 h 344"/>
                <a:gd name="T56" fmla="*/ 18801 w 204"/>
                <a:gd name="T57" fmla="*/ 135270 h 344"/>
                <a:gd name="T58" fmla="*/ 0 w 204"/>
                <a:gd name="T59" fmla="*/ 90885 h 344"/>
                <a:gd name="T60" fmla="*/ 18801 w 204"/>
                <a:gd name="T61" fmla="*/ 60237 h 344"/>
                <a:gd name="T62" fmla="*/ 18801 w 204"/>
                <a:gd name="T63" fmla="*/ 45442 h 3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close/>
                </a:path>
              </a:pathLst>
            </a:custGeom>
            <a:grpFill/>
            <a:ln w="3175" cmpd="sng">
              <a:solidFill>
                <a:schemeClr val="bg1"/>
              </a:solidFill>
              <a:round/>
              <a:headEnd/>
              <a:tailEnd/>
            </a:ln>
          </p:spPr>
          <p:txBody>
            <a:bodyPr/>
            <a:lstStyle/>
            <a:p>
              <a:endParaRPr lang="da-DK"/>
            </a:p>
          </p:txBody>
        </p:sp>
        <p:sp>
          <p:nvSpPr>
            <p:cNvPr id="44" name="Freeform 1061">
              <a:extLst>
                <a:ext uri="{FF2B5EF4-FFF2-40B4-BE49-F238E27FC236}">
                  <a16:creationId xmlns:a16="http://schemas.microsoft.com/office/drawing/2014/main" id="{A22E9BBF-0F57-F5AA-AA49-01C498278F0A}"/>
                </a:ext>
              </a:extLst>
            </p:cNvPr>
            <p:cNvSpPr>
              <a:spLocks/>
            </p:cNvSpPr>
            <p:nvPr>
              <p:custDataLst>
                <p:tags r:id="rId23"/>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close/>
                </a:path>
              </a:pathLst>
            </a:custGeom>
            <a:grpFill/>
            <a:ln w="3175" cmpd="sng">
              <a:solidFill>
                <a:schemeClr val="bg1"/>
              </a:solidFill>
              <a:round/>
              <a:headEnd/>
              <a:tailEnd/>
            </a:ln>
          </p:spPr>
          <p:txBody>
            <a:bodyPr/>
            <a:lstStyle/>
            <a:p>
              <a:endParaRPr lang="da-DK"/>
            </a:p>
          </p:txBody>
        </p:sp>
        <p:sp>
          <p:nvSpPr>
            <p:cNvPr id="45" name="Freeform 1062">
              <a:extLst>
                <a:ext uri="{FF2B5EF4-FFF2-40B4-BE49-F238E27FC236}">
                  <a16:creationId xmlns:a16="http://schemas.microsoft.com/office/drawing/2014/main" id="{948C5640-767C-90B0-BCF0-6AB95405E895}"/>
                </a:ext>
              </a:extLst>
            </p:cNvPr>
            <p:cNvSpPr>
              <a:spLocks/>
            </p:cNvSpPr>
            <p:nvPr>
              <p:custDataLst>
                <p:tags r:id="rId24"/>
              </p:custDataLst>
            </p:nvPr>
          </p:nvSpPr>
          <p:spPr bwMode="auto">
            <a:xfrm>
              <a:off x="3447852" y="3149263"/>
              <a:ext cx="51395" cy="30837"/>
            </a:xfrm>
            <a:custGeom>
              <a:avLst/>
              <a:gdLst>
                <a:gd name="T0" fmla="*/ 35807 w 45"/>
                <a:gd name="T1" fmla="*/ 33337 h 29"/>
                <a:gd name="T2" fmla="*/ 18521 w 45"/>
                <a:gd name="T3" fmla="*/ 33337 h 29"/>
                <a:gd name="T4" fmla="*/ 0 w 45"/>
                <a:gd name="T5" fmla="*/ 33337 h 29"/>
                <a:gd name="T6" fmla="*/ 0 w 45"/>
                <a:gd name="T7" fmla="*/ 0 h 29"/>
                <a:gd name="T8" fmla="*/ 18521 w 45"/>
                <a:gd name="T9" fmla="*/ 0 h 29"/>
                <a:gd name="T10" fmla="*/ 35807 w 45"/>
                <a:gd name="T11" fmla="*/ 0 h 29"/>
                <a:gd name="T12" fmla="*/ 55562 w 45"/>
                <a:gd name="T13" fmla="*/ 17243 h 29"/>
                <a:gd name="T14" fmla="*/ 35807 w 45"/>
                <a:gd name="T15" fmla="*/ 33337 h 29"/>
                <a:gd name="T16" fmla="*/ 35807 w 45"/>
                <a:gd name="T17" fmla="*/ 3333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9">
                  <a:moveTo>
                    <a:pt x="29" y="29"/>
                  </a:moveTo>
                  <a:lnTo>
                    <a:pt x="15" y="29"/>
                  </a:lnTo>
                  <a:lnTo>
                    <a:pt x="0" y="29"/>
                  </a:lnTo>
                  <a:lnTo>
                    <a:pt x="0" y="0"/>
                  </a:lnTo>
                  <a:lnTo>
                    <a:pt x="15" y="0"/>
                  </a:lnTo>
                  <a:lnTo>
                    <a:pt x="29" y="0"/>
                  </a:lnTo>
                  <a:lnTo>
                    <a:pt x="45" y="15"/>
                  </a:lnTo>
                  <a:lnTo>
                    <a:pt x="29" y="29"/>
                  </a:lnTo>
                </a:path>
              </a:pathLst>
            </a:custGeom>
            <a:grpFill/>
            <a:ln w="3175" cmpd="sng">
              <a:solidFill>
                <a:schemeClr val="bg1"/>
              </a:solidFill>
              <a:prstDash val="solid"/>
              <a:round/>
              <a:headEnd/>
              <a:tailEnd/>
            </a:ln>
          </p:spPr>
          <p:txBody>
            <a:bodyPr/>
            <a:lstStyle/>
            <a:p>
              <a:endParaRPr lang="da-DK"/>
            </a:p>
          </p:txBody>
        </p:sp>
        <p:sp>
          <p:nvSpPr>
            <p:cNvPr id="46" name="Freeform 1063">
              <a:extLst>
                <a:ext uri="{FF2B5EF4-FFF2-40B4-BE49-F238E27FC236}">
                  <a16:creationId xmlns:a16="http://schemas.microsoft.com/office/drawing/2014/main" id="{D2D1FE99-9338-E9FA-0161-AC939A77A3F5}"/>
                </a:ext>
              </a:extLst>
            </p:cNvPr>
            <p:cNvSpPr>
              <a:spLocks/>
            </p:cNvSpPr>
            <p:nvPr>
              <p:custDataLst>
                <p:tags r:id="rId25"/>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w 43"/>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4">
                  <a:moveTo>
                    <a:pt x="0" y="0"/>
                  </a:moveTo>
                  <a:lnTo>
                    <a:pt x="29" y="0"/>
                  </a:lnTo>
                  <a:lnTo>
                    <a:pt x="43" y="0"/>
                  </a:lnTo>
                  <a:lnTo>
                    <a:pt x="43" y="14"/>
                  </a:lnTo>
                  <a:lnTo>
                    <a:pt x="29" y="14"/>
                  </a:lnTo>
                  <a:lnTo>
                    <a:pt x="14" y="14"/>
                  </a:lnTo>
                  <a:lnTo>
                    <a:pt x="0" y="0"/>
                  </a:lnTo>
                  <a:close/>
                </a:path>
              </a:pathLst>
            </a:custGeom>
            <a:grpFill/>
            <a:ln w="3175" cmpd="sng">
              <a:solidFill>
                <a:schemeClr val="bg1"/>
              </a:solidFill>
              <a:round/>
              <a:headEnd/>
              <a:tailEnd/>
            </a:ln>
          </p:spPr>
          <p:txBody>
            <a:bodyPr/>
            <a:lstStyle/>
            <a:p>
              <a:endParaRPr lang="da-DK"/>
            </a:p>
          </p:txBody>
        </p:sp>
        <p:sp>
          <p:nvSpPr>
            <p:cNvPr id="47" name="Freeform 1064">
              <a:extLst>
                <a:ext uri="{FF2B5EF4-FFF2-40B4-BE49-F238E27FC236}">
                  <a16:creationId xmlns:a16="http://schemas.microsoft.com/office/drawing/2014/main" id="{7EE406ED-EA54-21A2-70CC-A26FBEBD3585}"/>
                </a:ext>
              </a:extLst>
            </p:cNvPr>
            <p:cNvSpPr>
              <a:spLocks/>
            </p:cNvSpPr>
            <p:nvPr>
              <p:custDataLst>
                <p:tags r:id="rId26"/>
              </p:custDataLst>
            </p:nvPr>
          </p:nvSpPr>
          <p:spPr bwMode="auto">
            <a:xfrm>
              <a:off x="3616722" y="3630910"/>
              <a:ext cx="44053" cy="14684"/>
            </a:xfrm>
            <a:custGeom>
              <a:avLst/>
              <a:gdLst>
                <a:gd name="T0" fmla="*/ 0 w 43"/>
                <a:gd name="T1" fmla="*/ 0 h 14"/>
                <a:gd name="T2" fmla="*/ 32119 w 43"/>
                <a:gd name="T3" fmla="*/ 0 h 14"/>
                <a:gd name="T4" fmla="*/ 47625 w 43"/>
                <a:gd name="T5" fmla="*/ 0 h 14"/>
                <a:gd name="T6" fmla="*/ 47625 w 43"/>
                <a:gd name="T7" fmla="*/ 15875 h 14"/>
                <a:gd name="T8" fmla="*/ 32119 w 43"/>
                <a:gd name="T9" fmla="*/ 15875 h 14"/>
                <a:gd name="T10" fmla="*/ 15506 w 43"/>
                <a:gd name="T11" fmla="*/ 15875 h 14"/>
                <a:gd name="T12" fmla="*/ 0 w 43"/>
                <a:gd name="T13" fmla="*/ 0 h 14"/>
                <a:gd name="T14" fmla="*/ 0 w 4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4">
                  <a:moveTo>
                    <a:pt x="0" y="0"/>
                  </a:moveTo>
                  <a:lnTo>
                    <a:pt x="29" y="0"/>
                  </a:lnTo>
                  <a:lnTo>
                    <a:pt x="43" y="0"/>
                  </a:lnTo>
                  <a:lnTo>
                    <a:pt x="43" y="14"/>
                  </a:lnTo>
                  <a:lnTo>
                    <a:pt x="29" y="14"/>
                  </a:lnTo>
                  <a:lnTo>
                    <a:pt x="14" y="14"/>
                  </a:lnTo>
                  <a:lnTo>
                    <a:pt x="0" y="0"/>
                  </a:lnTo>
                </a:path>
              </a:pathLst>
            </a:custGeom>
            <a:grpFill/>
            <a:ln w="3175" cmpd="sng">
              <a:solidFill>
                <a:schemeClr val="bg1"/>
              </a:solidFill>
              <a:prstDash val="solid"/>
              <a:round/>
              <a:headEnd/>
              <a:tailEnd/>
            </a:ln>
          </p:spPr>
          <p:txBody>
            <a:bodyPr/>
            <a:lstStyle/>
            <a:p>
              <a:endParaRPr lang="da-DK"/>
            </a:p>
          </p:txBody>
        </p:sp>
        <p:sp>
          <p:nvSpPr>
            <p:cNvPr id="48" name="Freeform 1065">
              <a:extLst>
                <a:ext uri="{FF2B5EF4-FFF2-40B4-BE49-F238E27FC236}">
                  <a16:creationId xmlns:a16="http://schemas.microsoft.com/office/drawing/2014/main" id="{24D7AC11-8B0B-F9FE-EC40-42D589C52049}"/>
                </a:ext>
              </a:extLst>
            </p:cNvPr>
            <p:cNvSpPr>
              <a:spLocks/>
            </p:cNvSpPr>
            <p:nvPr>
              <p:custDataLst>
                <p:tags r:id="rId27"/>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close/>
                </a:path>
              </a:pathLst>
            </a:custGeom>
            <a:grpFill/>
            <a:ln w="3175" cmpd="sng">
              <a:solidFill>
                <a:schemeClr val="bg1"/>
              </a:solidFill>
              <a:round/>
              <a:headEnd/>
              <a:tailEnd/>
            </a:ln>
          </p:spPr>
          <p:txBody>
            <a:bodyPr/>
            <a:lstStyle/>
            <a:p>
              <a:endParaRPr lang="da-DK"/>
            </a:p>
          </p:txBody>
        </p:sp>
        <p:sp>
          <p:nvSpPr>
            <p:cNvPr id="49" name="Freeform 1066">
              <a:extLst>
                <a:ext uri="{FF2B5EF4-FFF2-40B4-BE49-F238E27FC236}">
                  <a16:creationId xmlns:a16="http://schemas.microsoft.com/office/drawing/2014/main" id="{6B29AE89-BC2E-2FFA-04A3-99A212B8A94C}"/>
                </a:ext>
              </a:extLst>
            </p:cNvPr>
            <p:cNvSpPr>
              <a:spLocks/>
            </p:cNvSpPr>
            <p:nvPr>
              <p:custDataLst>
                <p:tags r:id="rId28"/>
              </p:custDataLst>
            </p:nvPr>
          </p:nvSpPr>
          <p:spPr bwMode="auto">
            <a:xfrm>
              <a:off x="3499247" y="3009760"/>
              <a:ext cx="44053" cy="41116"/>
            </a:xfrm>
            <a:custGeom>
              <a:avLst/>
              <a:gdLst>
                <a:gd name="T0" fmla="*/ 0 w 42"/>
                <a:gd name="T1" fmla="*/ 29978 h 43"/>
                <a:gd name="T2" fmla="*/ 14741 w 42"/>
                <a:gd name="T3" fmla="*/ 14472 h 43"/>
                <a:gd name="T4" fmla="*/ 32884 w 42"/>
                <a:gd name="T5" fmla="*/ 0 h 43"/>
                <a:gd name="T6" fmla="*/ 47625 w 42"/>
                <a:gd name="T7" fmla="*/ 14472 h 43"/>
                <a:gd name="T8" fmla="*/ 47625 w 42"/>
                <a:gd name="T9" fmla="*/ 29978 h 43"/>
                <a:gd name="T10" fmla="*/ 14741 w 42"/>
                <a:gd name="T11" fmla="*/ 44450 h 43"/>
                <a:gd name="T12" fmla="*/ 0 w 42"/>
                <a:gd name="T13" fmla="*/ 29978 h 43"/>
                <a:gd name="T14" fmla="*/ 0 w 42"/>
                <a:gd name="T15" fmla="*/ 2997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3">
                  <a:moveTo>
                    <a:pt x="0" y="29"/>
                  </a:moveTo>
                  <a:lnTo>
                    <a:pt x="13" y="14"/>
                  </a:lnTo>
                  <a:lnTo>
                    <a:pt x="29" y="0"/>
                  </a:lnTo>
                  <a:lnTo>
                    <a:pt x="42" y="14"/>
                  </a:lnTo>
                  <a:lnTo>
                    <a:pt x="42" y="29"/>
                  </a:lnTo>
                  <a:lnTo>
                    <a:pt x="13" y="43"/>
                  </a:lnTo>
                  <a:lnTo>
                    <a:pt x="0" y="29"/>
                  </a:lnTo>
                </a:path>
              </a:pathLst>
            </a:custGeom>
            <a:grpFill/>
            <a:ln w="3175" cmpd="sng">
              <a:solidFill>
                <a:schemeClr val="bg1"/>
              </a:solidFill>
              <a:prstDash val="solid"/>
              <a:round/>
              <a:headEnd/>
              <a:tailEnd/>
            </a:ln>
          </p:spPr>
          <p:txBody>
            <a:bodyPr/>
            <a:lstStyle/>
            <a:p>
              <a:endParaRPr lang="da-DK"/>
            </a:p>
          </p:txBody>
        </p:sp>
        <p:sp>
          <p:nvSpPr>
            <p:cNvPr id="50" name="Freeform 1067">
              <a:extLst>
                <a:ext uri="{FF2B5EF4-FFF2-40B4-BE49-F238E27FC236}">
                  <a16:creationId xmlns:a16="http://schemas.microsoft.com/office/drawing/2014/main" id="{46E19024-3756-18B9-37C6-355AC98D9A01}"/>
                </a:ext>
              </a:extLst>
            </p:cNvPr>
            <p:cNvSpPr>
              <a:spLocks/>
            </p:cNvSpPr>
            <p:nvPr>
              <p:custDataLst>
                <p:tags r:id="rId29"/>
              </p:custDataLst>
            </p:nvPr>
          </p:nvSpPr>
          <p:spPr bwMode="auto">
            <a:xfrm>
              <a:off x="3149758" y="2873196"/>
              <a:ext cx="911900" cy="791487"/>
            </a:xfrm>
            <a:custGeom>
              <a:avLst/>
              <a:gdLst>
                <a:gd name="T0" fmla="*/ 83826 w 835"/>
                <a:gd name="T1" fmla="*/ 734337 h 804"/>
                <a:gd name="T2" fmla="*/ 185361 w 835"/>
                <a:gd name="T3" fmla="*/ 672610 h 804"/>
                <a:gd name="T4" fmla="*/ 219600 w 835"/>
                <a:gd name="T5" fmla="*/ 657710 h 804"/>
                <a:gd name="T6" fmla="*/ 269187 w 835"/>
                <a:gd name="T7" fmla="*/ 672610 h 804"/>
                <a:gd name="T8" fmla="*/ 338845 w 835"/>
                <a:gd name="T9" fmla="*/ 686445 h 804"/>
                <a:gd name="T10" fmla="*/ 404961 w 835"/>
                <a:gd name="T11" fmla="*/ 657710 h 804"/>
                <a:gd name="T12" fmla="*/ 473438 w 835"/>
                <a:gd name="T13" fmla="*/ 624718 h 804"/>
                <a:gd name="T14" fmla="*/ 439200 w 835"/>
                <a:gd name="T15" fmla="*/ 613012 h 804"/>
                <a:gd name="T16" fmla="*/ 422671 w 835"/>
                <a:gd name="T17" fmla="*/ 550220 h 804"/>
                <a:gd name="T18" fmla="*/ 459271 w 835"/>
                <a:gd name="T19" fmla="*/ 505522 h 804"/>
                <a:gd name="T20" fmla="*/ 491148 w 835"/>
                <a:gd name="T21" fmla="*/ 443795 h 804"/>
                <a:gd name="T22" fmla="*/ 491148 w 835"/>
                <a:gd name="T23" fmla="*/ 383132 h 804"/>
                <a:gd name="T24" fmla="*/ 541916 w 835"/>
                <a:gd name="T25" fmla="*/ 367168 h 804"/>
                <a:gd name="T26" fmla="*/ 507677 w 835"/>
                <a:gd name="T27" fmla="*/ 336305 h 804"/>
                <a:gd name="T28" fmla="*/ 541916 w 835"/>
                <a:gd name="T29" fmla="*/ 290542 h 804"/>
                <a:gd name="T30" fmla="*/ 592683 w 835"/>
                <a:gd name="T31" fmla="*/ 259679 h 804"/>
                <a:gd name="T32" fmla="*/ 526567 w 835"/>
                <a:gd name="T33" fmla="*/ 242650 h 804"/>
                <a:gd name="T34" fmla="*/ 526567 w 835"/>
                <a:gd name="T35" fmla="*/ 183052 h 804"/>
                <a:gd name="T36" fmla="*/ 560806 w 835"/>
                <a:gd name="T37" fmla="*/ 108554 h 804"/>
                <a:gd name="T38" fmla="*/ 610393 w 835"/>
                <a:gd name="T39" fmla="*/ 92590 h 804"/>
                <a:gd name="T40" fmla="*/ 661161 w 835"/>
                <a:gd name="T41" fmla="*/ 75562 h 804"/>
                <a:gd name="T42" fmla="*/ 695399 w 835"/>
                <a:gd name="T43" fmla="*/ 44699 h 804"/>
                <a:gd name="T44" fmla="*/ 729638 w 835"/>
                <a:gd name="T45" fmla="*/ 30863 h 804"/>
                <a:gd name="T46" fmla="*/ 795754 w 835"/>
                <a:gd name="T47" fmla="*/ 44699 h 804"/>
                <a:gd name="T48" fmla="*/ 795754 w 835"/>
                <a:gd name="T49" fmla="*/ 123454 h 804"/>
                <a:gd name="T50" fmla="*/ 780406 w 835"/>
                <a:gd name="T51" fmla="*/ 197952 h 804"/>
                <a:gd name="T52" fmla="*/ 832354 w 835"/>
                <a:gd name="T53" fmla="*/ 228815 h 804"/>
                <a:gd name="T54" fmla="*/ 848883 w 835"/>
                <a:gd name="T55" fmla="*/ 290542 h 804"/>
                <a:gd name="T56" fmla="*/ 814645 w 835"/>
                <a:gd name="T57" fmla="*/ 367168 h 804"/>
                <a:gd name="T58" fmla="*/ 848883 w 835"/>
                <a:gd name="T59" fmla="*/ 398032 h 804"/>
                <a:gd name="T60" fmla="*/ 867774 w 835"/>
                <a:gd name="T61" fmla="*/ 457630 h 804"/>
                <a:gd name="T62" fmla="*/ 814645 w 835"/>
                <a:gd name="T63" fmla="*/ 505522 h 804"/>
                <a:gd name="T64" fmla="*/ 848883 w 835"/>
                <a:gd name="T65" fmla="*/ 534257 h 804"/>
                <a:gd name="T66" fmla="*/ 933890 w 835"/>
                <a:gd name="T67" fmla="*/ 534257 h 804"/>
                <a:gd name="T68" fmla="*/ 985838 w 835"/>
                <a:gd name="T69" fmla="*/ 613012 h 804"/>
                <a:gd name="T70" fmla="*/ 933890 w 835"/>
                <a:gd name="T71" fmla="*/ 686445 h 804"/>
                <a:gd name="T72" fmla="*/ 883122 w 835"/>
                <a:gd name="T73" fmla="*/ 703473 h 804"/>
                <a:gd name="T74" fmla="*/ 848883 w 835"/>
                <a:gd name="T75" fmla="*/ 717309 h 804"/>
                <a:gd name="T76" fmla="*/ 795754 w 835"/>
                <a:gd name="T77" fmla="*/ 734337 h 804"/>
                <a:gd name="T78" fmla="*/ 814645 w 835"/>
                <a:gd name="T79" fmla="*/ 780100 h 804"/>
                <a:gd name="T80" fmla="*/ 883122 w 835"/>
                <a:gd name="T81" fmla="*/ 780100 h 804"/>
                <a:gd name="T82" fmla="*/ 848883 w 835"/>
                <a:gd name="T83" fmla="*/ 824799 h 804"/>
                <a:gd name="T84" fmla="*/ 780406 w 835"/>
                <a:gd name="T85" fmla="*/ 839698 h 804"/>
                <a:gd name="T86" fmla="*/ 695399 w 835"/>
                <a:gd name="T87" fmla="*/ 824799 h 804"/>
                <a:gd name="T88" fmla="*/ 610393 w 835"/>
                <a:gd name="T89" fmla="*/ 824799 h 804"/>
                <a:gd name="T90" fmla="*/ 560806 w 835"/>
                <a:gd name="T91" fmla="*/ 793935 h 804"/>
                <a:gd name="T92" fmla="*/ 491148 w 835"/>
                <a:gd name="T93" fmla="*/ 808835 h 804"/>
                <a:gd name="T94" fmla="*/ 404961 w 835"/>
                <a:gd name="T95" fmla="*/ 808835 h 804"/>
                <a:gd name="T96" fmla="*/ 354193 w 835"/>
                <a:gd name="T97" fmla="*/ 763072 h 804"/>
                <a:gd name="T98" fmla="*/ 285716 w 835"/>
                <a:gd name="T99" fmla="*/ 749236 h 804"/>
                <a:gd name="T100" fmla="*/ 251477 w 835"/>
                <a:gd name="T101" fmla="*/ 808835 h 804"/>
                <a:gd name="T102" fmla="*/ 168832 w 835"/>
                <a:gd name="T103" fmla="*/ 780100 h 804"/>
                <a:gd name="T104" fmla="*/ 83826 w 835"/>
                <a:gd name="T105" fmla="*/ 780100 h 804"/>
                <a:gd name="T106" fmla="*/ 31877 w 835"/>
                <a:gd name="T107" fmla="*/ 793935 h 804"/>
                <a:gd name="T108" fmla="*/ 31877 w 835"/>
                <a:gd name="T109" fmla="*/ 763072 h 8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close/>
                </a:path>
              </a:pathLst>
            </a:custGeom>
            <a:grpFill/>
            <a:ln w="3175" cmpd="sng">
              <a:solidFill>
                <a:schemeClr val="bg1"/>
              </a:solidFill>
              <a:round/>
              <a:headEnd/>
              <a:tailEnd/>
            </a:ln>
          </p:spPr>
          <p:txBody>
            <a:bodyPr/>
            <a:lstStyle/>
            <a:p>
              <a:endParaRPr lang="da-DK"/>
            </a:p>
          </p:txBody>
        </p:sp>
        <p:sp>
          <p:nvSpPr>
            <p:cNvPr id="51" name="Freeform 1069">
              <a:extLst>
                <a:ext uri="{FF2B5EF4-FFF2-40B4-BE49-F238E27FC236}">
                  <a16:creationId xmlns:a16="http://schemas.microsoft.com/office/drawing/2014/main" id="{FFB9BDF1-88E2-79CB-13B2-A7756CD39374}"/>
                </a:ext>
              </a:extLst>
            </p:cNvPr>
            <p:cNvSpPr>
              <a:spLocks/>
            </p:cNvSpPr>
            <p:nvPr>
              <p:custDataLst>
                <p:tags r:id="rId30"/>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close/>
                </a:path>
              </a:pathLst>
            </a:custGeom>
            <a:grpFill/>
            <a:ln w="3175" cmpd="sng">
              <a:solidFill>
                <a:schemeClr val="bg1"/>
              </a:solidFill>
              <a:round/>
              <a:headEnd/>
              <a:tailEnd/>
            </a:ln>
          </p:spPr>
          <p:txBody>
            <a:bodyPr/>
            <a:lstStyle/>
            <a:p>
              <a:endParaRPr lang="da-DK"/>
            </a:p>
          </p:txBody>
        </p:sp>
        <p:sp>
          <p:nvSpPr>
            <p:cNvPr id="52" name="Freeform 1070">
              <a:extLst>
                <a:ext uri="{FF2B5EF4-FFF2-40B4-BE49-F238E27FC236}">
                  <a16:creationId xmlns:a16="http://schemas.microsoft.com/office/drawing/2014/main" id="{DC7E25A5-925A-D44A-84AA-C0951B621C30}"/>
                </a:ext>
              </a:extLst>
            </p:cNvPr>
            <p:cNvSpPr>
              <a:spLocks/>
            </p:cNvSpPr>
            <p:nvPr>
              <p:custDataLst>
                <p:tags r:id="rId31"/>
              </p:custDataLst>
            </p:nvPr>
          </p:nvSpPr>
          <p:spPr bwMode="auto">
            <a:xfrm>
              <a:off x="3296602" y="3187441"/>
              <a:ext cx="328930" cy="280471"/>
            </a:xfrm>
            <a:custGeom>
              <a:avLst/>
              <a:gdLst>
                <a:gd name="T0" fmla="*/ 321566 w 303"/>
                <a:gd name="T1" fmla="*/ 30638 h 287"/>
                <a:gd name="T2" fmla="*/ 305135 w 303"/>
                <a:gd name="T3" fmla="*/ 15847 h 287"/>
                <a:gd name="T4" fmla="*/ 287531 w 303"/>
                <a:gd name="T5" fmla="*/ 0 h 287"/>
                <a:gd name="T6" fmla="*/ 219463 w 303"/>
                <a:gd name="T7" fmla="*/ 15847 h 287"/>
                <a:gd name="T8" fmla="*/ 168998 w 303"/>
                <a:gd name="T9" fmla="*/ 30638 h 287"/>
                <a:gd name="T10" fmla="*/ 134964 w 303"/>
                <a:gd name="T11" fmla="*/ 46485 h 287"/>
                <a:gd name="T12" fmla="*/ 152568 w 303"/>
                <a:gd name="T13" fmla="*/ 61276 h 287"/>
                <a:gd name="T14" fmla="*/ 186602 w 303"/>
                <a:gd name="T15" fmla="*/ 61276 h 287"/>
                <a:gd name="T16" fmla="*/ 219463 w 303"/>
                <a:gd name="T17" fmla="*/ 46485 h 287"/>
                <a:gd name="T18" fmla="*/ 200685 w 303"/>
                <a:gd name="T19" fmla="*/ 75011 h 287"/>
                <a:gd name="T20" fmla="*/ 200685 w 303"/>
                <a:gd name="T21" fmla="*/ 105649 h 287"/>
                <a:gd name="T22" fmla="*/ 200685 w 303"/>
                <a:gd name="T23" fmla="*/ 122553 h 287"/>
                <a:gd name="T24" fmla="*/ 168998 w 303"/>
                <a:gd name="T25" fmla="*/ 137343 h 287"/>
                <a:gd name="T26" fmla="*/ 134964 w 303"/>
                <a:gd name="T27" fmla="*/ 167982 h 287"/>
                <a:gd name="T28" fmla="*/ 100929 w 303"/>
                <a:gd name="T29" fmla="*/ 167982 h 287"/>
                <a:gd name="T30" fmla="*/ 69242 w 303"/>
                <a:gd name="T31" fmla="*/ 167982 h 287"/>
                <a:gd name="T32" fmla="*/ 31687 w 303"/>
                <a:gd name="T33" fmla="*/ 151078 h 287"/>
                <a:gd name="T34" fmla="*/ 16430 w 303"/>
                <a:gd name="T35" fmla="*/ 183829 h 287"/>
                <a:gd name="T36" fmla="*/ 31687 w 303"/>
                <a:gd name="T37" fmla="*/ 198620 h 287"/>
                <a:gd name="T38" fmla="*/ 50465 w 303"/>
                <a:gd name="T39" fmla="*/ 212354 h 287"/>
                <a:gd name="T40" fmla="*/ 31687 w 303"/>
                <a:gd name="T41" fmla="*/ 227145 h 287"/>
                <a:gd name="T42" fmla="*/ 84499 w 303"/>
                <a:gd name="T43" fmla="*/ 212354 h 287"/>
                <a:gd name="T44" fmla="*/ 118533 w 303"/>
                <a:gd name="T45" fmla="*/ 212354 h 287"/>
                <a:gd name="T46" fmla="*/ 118533 w 303"/>
                <a:gd name="T47" fmla="*/ 242992 h 287"/>
                <a:gd name="T48" fmla="*/ 118533 w 303"/>
                <a:gd name="T49" fmla="*/ 242992 h 287"/>
                <a:gd name="T50" fmla="*/ 152568 w 303"/>
                <a:gd name="T51" fmla="*/ 257783 h 287"/>
                <a:gd name="T52" fmla="*/ 152568 w 303"/>
                <a:gd name="T53" fmla="*/ 273630 h 287"/>
                <a:gd name="T54" fmla="*/ 186602 w 303"/>
                <a:gd name="T55" fmla="*/ 303212 h 287"/>
                <a:gd name="T56" fmla="*/ 237067 w 303"/>
                <a:gd name="T57" fmla="*/ 303212 h 287"/>
                <a:gd name="T58" fmla="*/ 271101 w 303"/>
                <a:gd name="T59" fmla="*/ 288421 h 287"/>
                <a:gd name="T60" fmla="*/ 287531 w 303"/>
                <a:gd name="T61" fmla="*/ 273630 h 287"/>
                <a:gd name="T62" fmla="*/ 271101 w 303"/>
                <a:gd name="T63" fmla="*/ 242992 h 287"/>
                <a:gd name="T64" fmla="*/ 271101 w 303"/>
                <a:gd name="T65" fmla="*/ 212354 h 287"/>
                <a:gd name="T66" fmla="*/ 305135 w 303"/>
                <a:gd name="T67" fmla="*/ 167982 h 287"/>
                <a:gd name="T68" fmla="*/ 305135 w 303"/>
                <a:gd name="T69" fmla="*/ 167982 h 287"/>
                <a:gd name="T70" fmla="*/ 321566 w 303"/>
                <a:gd name="T71" fmla="*/ 137343 h 287"/>
                <a:gd name="T72" fmla="*/ 339170 w 303"/>
                <a:gd name="T73" fmla="*/ 105649 h 287"/>
                <a:gd name="T74" fmla="*/ 355600 w 303"/>
                <a:gd name="T75" fmla="*/ 75011 h 287"/>
                <a:gd name="T76" fmla="*/ 339170 w 303"/>
                <a:gd name="T77" fmla="*/ 46485 h 2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path>
              </a:pathLst>
            </a:custGeom>
            <a:grpFill/>
            <a:ln w="3175" cmpd="sng">
              <a:solidFill>
                <a:schemeClr val="bg1"/>
              </a:solidFill>
              <a:prstDash val="solid"/>
              <a:round/>
              <a:headEnd/>
              <a:tailEnd/>
            </a:ln>
          </p:spPr>
          <p:txBody>
            <a:bodyPr/>
            <a:lstStyle/>
            <a:p>
              <a:endParaRPr lang="da-DK"/>
            </a:p>
          </p:txBody>
        </p:sp>
        <p:sp>
          <p:nvSpPr>
            <p:cNvPr id="53" name="Freeform 1071">
              <a:extLst>
                <a:ext uri="{FF2B5EF4-FFF2-40B4-BE49-F238E27FC236}">
                  <a16:creationId xmlns:a16="http://schemas.microsoft.com/office/drawing/2014/main" id="{7A6ECFDA-EDAC-212B-3632-46D1F87435BB}"/>
                </a:ext>
              </a:extLst>
            </p:cNvPr>
            <p:cNvSpPr>
              <a:spLocks/>
            </p:cNvSpPr>
            <p:nvPr>
              <p:custDataLst>
                <p:tags r:id="rId32"/>
              </p:custDataLst>
            </p:nvPr>
          </p:nvSpPr>
          <p:spPr bwMode="auto">
            <a:xfrm>
              <a:off x="3509527" y="2397422"/>
              <a:ext cx="455216" cy="580032"/>
            </a:xfrm>
            <a:custGeom>
              <a:avLst/>
              <a:gdLst>
                <a:gd name="T0" fmla="*/ 203192 w 419"/>
                <a:gd name="T1" fmla="*/ 611093 h 589"/>
                <a:gd name="T2" fmla="*/ 152688 w 419"/>
                <a:gd name="T3" fmla="*/ 596188 h 589"/>
                <a:gd name="T4" fmla="*/ 135070 w 419"/>
                <a:gd name="T5" fmla="*/ 596188 h 589"/>
                <a:gd name="T6" fmla="*/ 84566 w 419"/>
                <a:gd name="T7" fmla="*/ 580219 h 589"/>
                <a:gd name="T8" fmla="*/ 68122 w 419"/>
                <a:gd name="T9" fmla="*/ 627062 h 589"/>
                <a:gd name="T10" fmla="*/ 34061 w 419"/>
                <a:gd name="T11" fmla="*/ 580219 h 589"/>
                <a:gd name="T12" fmla="*/ 16443 w 419"/>
                <a:gd name="T13" fmla="*/ 611093 h 589"/>
                <a:gd name="T14" fmla="*/ 0 w 419"/>
                <a:gd name="T15" fmla="*/ 565314 h 589"/>
                <a:gd name="T16" fmla="*/ 16443 w 419"/>
                <a:gd name="T17" fmla="*/ 534440 h 589"/>
                <a:gd name="T18" fmla="*/ 50504 w 419"/>
                <a:gd name="T19" fmla="*/ 503566 h 589"/>
                <a:gd name="T20" fmla="*/ 102183 w 419"/>
                <a:gd name="T21" fmla="*/ 472692 h 589"/>
                <a:gd name="T22" fmla="*/ 135070 w 419"/>
                <a:gd name="T23" fmla="*/ 443947 h 589"/>
                <a:gd name="T24" fmla="*/ 102183 w 419"/>
                <a:gd name="T25" fmla="*/ 413073 h 589"/>
                <a:gd name="T26" fmla="*/ 68122 w 419"/>
                <a:gd name="T27" fmla="*/ 398168 h 589"/>
                <a:gd name="T28" fmla="*/ 102183 w 419"/>
                <a:gd name="T29" fmla="*/ 365165 h 589"/>
                <a:gd name="T30" fmla="*/ 50504 w 419"/>
                <a:gd name="T31" fmla="*/ 381134 h 589"/>
                <a:gd name="T32" fmla="*/ 34061 w 419"/>
                <a:gd name="T33" fmla="*/ 365165 h 589"/>
                <a:gd name="T34" fmla="*/ 84566 w 419"/>
                <a:gd name="T35" fmla="*/ 321516 h 589"/>
                <a:gd name="T36" fmla="*/ 84566 w 419"/>
                <a:gd name="T37" fmla="*/ 305546 h 589"/>
                <a:gd name="T38" fmla="*/ 135070 w 419"/>
                <a:gd name="T39" fmla="*/ 259768 h 589"/>
                <a:gd name="T40" fmla="*/ 84566 w 419"/>
                <a:gd name="T41" fmla="*/ 274672 h 589"/>
                <a:gd name="T42" fmla="*/ 34061 w 419"/>
                <a:gd name="T43" fmla="*/ 274672 h 589"/>
                <a:gd name="T44" fmla="*/ 68122 w 419"/>
                <a:gd name="T45" fmla="*/ 228894 h 589"/>
                <a:gd name="T46" fmla="*/ 102183 w 419"/>
                <a:gd name="T47" fmla="*/ 198020 h 589"/>
                <a:gd name="T48" fmla="*/ 135070 w 419"/>
                <a:gd name="T49" fmla="*/ 167146 h 589"/>
                <a:gd name="T50" fmla="*/ 118627 w 419"/>
                <a:gd name="T51" fmla="*/ 152241 h 589"/>
                <a:gd name="T52" fmla="*/ 118627 w 419"/>
                <a:gd name="T53" fmla="*/ 107527 h 589"/>
                <a:gd name="T54" fmla="*/ 169131 w 419"/>
                <a:gd name="T55" fmla="*/ 90493 h 589"/>
                <a:gd name="T56" fmla="*/ 203192 w 419"/>
                <a:gd name="T57" fmla="*/ 121367 h 589"/>
                <a:gd name="T58" fmla="*/ 184400 w 419"/>
                <a:gd name="T59" fmla="*/ 75588 h 589"/>
                <a:gd name="T60" fmla="*/ 203192 w 419"/>
                <a:gd name="T61" fmla="*/ 44714 h 589"/>
                <a:gd name="T62" fmla="*/ 237254 w 419"/>
                <a:gd name="T63" fmla="*/ 44714 h 589"/>
                <a:gd name="T64" fmla="*/ 271315 w 419"/>
                <a:gd name="T65" fmla="*/ 0 h 589"/>
                <a:gd name="T66" fmla="*/ 303027 w 419"/>
                <a:gd name="T67" fmla="*/ 30874 h 589"/>
                <a:gd name="T68" fmla="*/ 355880 w 419"/>
                <a:gd name="T69" fmla="*/ 44714 h 589"/>
                <a:gd name="T70" fmla="*/ 405210 w 419"/>
                <a:gd name="T71" fmla="*/ 44714 h 589"/>
                <a:gd name="T72" fmla="*/ 424003 w 419"/>
                <a:gd name="T73" fmla="*/ 75588 h 589"/>
                <a:gd name="T74" fmla="*/ 373498 w 419"/>
                <a:gd name="T75" fmla="*/ 107527 h 589"/>
                <a:gd name="T76" fmla="*/ 321819 w 419"/>
                <a:gd name="T77" fmla="*/ 121367 h 589"/>
                <a:gd name="T78" fmla="*/ 287758 w 419"/>
                <a:gd name="T79" fmla="*/ 152241 h 589"/>
                <a:gd name="T80" fmla="*/ 271315 w 419"/>
                <a:gd name="T81" fmla="*/ 183115 h 589"/>
                <a:gd name="T82" fmla="*/ 252522 w 419"/>
                <a:gd name="T83" fmla="*/ 211860 h 589"/>
                <a:gd name="T84" fmla="*/ 321819 w 419"/>
                <a:gd name="T85" fmla="*/ 198020 h 589"/>
                <a:gd name="T86" fmla="*/ 405210 w 419"/>
                <a:gd name="T87" fmla="*/ 198020 h 589"/>
                <a:gd name="T88" fmla="*/ 441621 w 419"/>
                <a:gd name="T89" fmla="*/ 228894 h 589"/>
                <a:gd name="T90" fmla="*/ 492125 w 419"/>
                <a:gd name="T91" fmla="*/ 228894 h 589"/>
                <a:gd name="T92" fmla="*/ 476856 w 419"/>
                <a:gd name="T93" fmla="*/ 274672 h 589"/>
                <a:gd name="T94" fmla="*/ 441621 w 419"/>
                <a:gd name="T95" fmla="*/ 290642 h 589"/>
                <a:gd name="T96" fmla="*/ 441621 w 419"/>
                <a:gd name="T97" fmla="*/ 336420 h 589"/>
                <a:gd name="T98" fmla="*/ 389942 w 419"/>
                <a:gd name="T99" fmla="*/ 381134 h 589"/>
                <a:gd name="T100" fmla="*/ 339437 w 419"/>
                <a:gd name="T101" fmla="*/ 381134 h 589"/>
                <a:gd name="T102" fmla="*/ 287758 w 419"/>
                <a:gd name="T103" fmla="*/ 398168 h 589"/>
                <a:gd name="T104" fmla="*/ 339437 w 419"/>
                <a:gd name="T105" fmla="*/ 413073 h 589"/>
                <a:gd name="T106" fmla="*/ 287758 w 419"/>
                <a:gd name="T107" fmla="*/ 443947 h 589"/>
                <a:gd name="T108" fmla="*/ 237254 w 419"/>
                <a:gd name="T109" fmla="*/ 426913 h 589"/>
                <a:gd name="T110" fmla="*/ 237254 w 419"/>
                <a:gd name="T111" fmla="*/ 443947 h 589"/>
                <a:gd name="T112" fmla="*/ 303027 w 419"/>
                <a:gd name="T113" fmla="*/ 457787 h 589"/>
                <a:gd name="T114" fmla="*/ 355880 w 419"/>
                <a:gd name="T115" fmla="*/ 488661 h 589"/>
                <a:gd name="T116" fmla="*/ 339437 w 419"/>
                <a:gd name="T117" fmla="*/ 550409 h 589"/>
                <a:gd name="T118" fmla="*/ 321819 w 419"/>
                <a:gd name="T119" fmla="*/ 565314 h 589"/>
                <a:gd name="T120" fmla="*/ 287758 w 419"/>
                <a:gd name="T121" fmla="*/ 580219 h 589"/>
                <a:gd name="T122" fmla="*/ 252522 w 419"/>
                <a:gd name="T123" fmla="*/ 611093 h 589"/>
                <a:gd name="T124" fmla="*/ 218461 w 419"/>
                <a:gd name="T125" fmla="*/ 611093 h 5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close/>
                </a:path>
              </a:pathLst>
            </a:custGeom>
            <a:grpFill/>
            <a:ln w="3175" cmpd="sng">
              <a:solidFill>
                <a:schemeClr val="bg1"/>
              </a:solidFill>
              <a:round/>
              <a:headEnd/>
              <a:tailEnd/>
            </a:ln>
          </p:spPr>
          <p:txBody>
            <a:bodyPr/>
            <a:lstStyle/>
            <a:p>
              <a:endParaRPr lang="da-DK"/>
            </a:p>
          </p:txBody>
        </p:sp>
        <p:sp>
          <p:nvSpPr>
            <p:cNvPr id="54" name="Freeform 1073">
              <a:extLst>
                <a:ext uri="{FF2B5EF4-FFF2-40B4-BE49-F238E27FC236}">
                  <a16:creationId xmlns:a16="http://schemas.microsoft.com/office/drawing/2014/main" id="{8CE84579-DF2D-D286-B12B-3C623AB783F6}"/>
                </a:ext>
              </a:extLst>
            </p:cNvPr>
            <p:cNvSpPr>
              <a:spLocks/>
            </p:cNvSpPr>
            <p:nvPr>
              <p:custDataLst>
                <p:tags r:id="rId33"/>
              </p:custDataLst>
            </p:nvPr>
          </p:nvSpPr>
          <p:spPr bwMode="auto">
            <a:xfrm>
              <a:off x="4283392" y="4293175"/>
              <a:ext cx="565349" cy="268725"/>
            </a:xfrm>
            <a:custGeom>
              <a:avLst/>
              <a:gdLst>
                <a:gd name="T0" fmla="*/ 84626 w 520"/>
                <a:gd name="T1" fmla="*/ 229633 h 272"/>
                <a:gd name="T2" fmla="*/ 99906 w 520"/>
                <a:gd name="T3" fmla="*/ 213613 h 272"/>
                <a:gd name="T4" fmla="*/ 84626 w 520"/>
                <a:gd name="T5" fmla="*/ 184775 h 272"/>
                <a:gd name="T6" fmla="*/ 118712 w 520"/>
                <a:gd name="T7" fmla="*/ 184775 h 272"/>
                <a:gd name="T8" fmla="*/ 99906 w 520"/>
                <a:gd name="T9" fmla="*/ 136712 h 272"/>
                <a:gd name="T10" fmla="*/ 84626 w 520"/>
                <a:gd name="T11" fmla="*/ 153801 h 272"/>
                <a:gd name="T12" fmla="*/ 50541 w 520"/>
                <a:gd name="T13" fmla="*/ 184775 h 272"/>
                <a:gd name="T14" fmla="*/ 0 w 520"/>
                <a:gd name="T15" fmla="*/ 167686 h 272"/>
                <a:gd name="T16" fmla="*/ 50541 w 520"/>
                <a:gd name="T17" fmla="*/ 107874 h 272"/>
                <a:gd name="T18" fmla="*/ 65820 w 520"/>
                <a:gd name="T19" fmla="*/ 74764 h 272"/>
                <a:gd name="T20" fmla="*/ 133991 w 520"/>
                <a:gd name="T21" fmla="*/ 59812 h 272"/>
                <a:gd name="T22" fmla="*/ 152797 w 520"/>
                <a:gd name="T23" fmla="*/ 14953 h 272"/>
                <a:gd name="T24" fmla="*/ 186882 w 520"/>
                <a:gd name="T25" fmla="*/ 14953 h 272"/>
                <a:gd name="T26" fmla="*/ 220968 w 520"/>
                <a:gd name="T27" fmla="*/ 0 h 272"/>
                <a:gd name="T28" fmla="*/ 237423 w 520"/>
                <a:gd name="T29" fmla="*/ 0 h 272"/>
                <a:gd name="T30" fmla="*/ 252703 w 520"/>
                <a:gd name="T31" fmla="*/ 0 h 272"/>
                <a:gd name="T32" fmla="*/ 305594 w 520"/>
                <a:gd name="T33" fmla="*/ 14953 h 272"/>
                <a:gd name="T34" fmla="*/ 337329 w 520"/>
                <a:gd name="T35" fmla="*/ 14953 h 272"/>
                <a:gd name="T36" fmla="*/ 371414 w 520"/>
                <a:gd name="T37" fmla="*/ 14953 h 272"/>
                <a:gd name="T38" fmla="*/ 424306 w 520"/>
                <a:gd name="T39" fmla="*/ 14953 h 272"/>
                <a:gd name="T40" fmla="*/ 439585 w 520"/>
                <a:gd name="T41" fmla="*/ 30974 h 272"/>
                <a:gd name="T42" fmla="*/ 456040 w 520"/>
                <a:gd name="T43" fmla="*/ 45927 h 272"/>
                <a:gd name="T44" fmla="*/ 490126 w 520"/>
                <a:gd name="T45" fmla="*/ 74764 h 272"/>
                <a:gd name="T46" fmla="*/ 473671 w 520"/>
                <a:gd name="T47" fmla="*/ 107874 h 272"/>
                <a:gd name="T48" fmla="*/ 490126 w 520"/>
                <a:gd name="T49" fmla="*/ 122827 h 272"/>
                <a:gd name="T50" fmla="*/ 526562 w 520"/>
                <a:gd name="T51" fmla="*/ 136712 h 272"/>
                <a:gd name="T52" fmla="*/ 611188 w 520"/>
                <a:gd name="T53" fmla="*/ 153801 h 272"/>
                <a:gd name="T54" fmla="*/ 592382 w 520"/>
                <a:gd name="T55" fmla="*/ 167686 h 272"/>
                <a:gd name="T56" fmla="*/ 592382 w 520"/>
                <a:gd name="T57" fmla="*/ 198660 h 272"/>
                <a:gd name="T58" fmla="*/ 558297 w 520"/>
                <a:gd name="T59" fmla="*/ 184775 h 272"/>
                <a:gd name="T60" fmla="*/ 526562 w 520"/>
                <a:gd name="T61" fmla="*/ 213613 h 272"/>
                <a:gd name="T62" fmla="*/ 526562 w 520"/>
                <a:gd name="T63" fmla="*/ 244586 h 272"/>
                <a:gd name="T64" fmla="*/ 490126 w 520"/>
                <a:gd name="T65" fmla="*/ 229633 h 272"/>
                <a:gd name="T66" fmla="*/ 456040 w 520"/>
                <a:gd name="T67" fmla="*/ 229633 h 272"/>
                <a:gd name="T68" fmla="*/ 439585 w 520"/>
                <a:gd name="T69" fmla="*/ 198660 h 272"/>
                <a:gd name="T70" fmla="*/ 424306 w 520"/>
                <a:gd name="T71" fmla="*/ 213613 h 272"/>
                <a:gd name="T72" fmla="*/ 405500 w 520"/>
                <a:gd name="T73" fmla="*/ 244586 h 272"/>
                <a:gd name="T74" fmla="*/ 371414 w 520"/>
                <a:gd name="T75" fmla="*/ 275560 h 272"/>
                <a:gd name="T76" fmla="*/ 356135 w 520"/>
                <a:gd name="T77" fmla="*/ 275560 h 272"/>
                <a:gd name="T78" fmla="*/ 320874 w 520"/>
                <a:gd name="T79" fmla="*/ 244586 h 272"/>
                <a:gd name="T80" fmla="*/ 320874 w 520"/>
                <a:gd name="T81" fmla="*/ 213613 h 272"/>
                <a:gd name="T82" fmla="*/ 286788 w 520"/>
                <a:gd name="T83" fmla="*/ 198660 h 272"/>
                <a:gd name="T84" fmla="*/ 271509 w 520"/>
                <a:gd name="T85" fmla="*/ 229633 h 272"/>
                <a:gd name="T86" fmla="*/ 237423 w 520"/>
                <a:gd name="T87" fmla="*/ 261675 h 272"/>
                <a:gd name="T88" fmla="*/ 186882 w 520"/>
                <a:gd name="T89" fmla="*/ 244586 h 272"/>
                <a:gd name="T90" fmla="*/ 99906 w 520"/>
                <a:gd name="T91" fmla="*/ 244586 h 272"/>
                <a:gd name="T92" fmla="*/ 99906 w 520"/>
                <a:gd name="T93" fmla="*/ 244586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0" h="272">
                  <a:moveTo>
                    <a:pt x="85" y="229"/>
                  </a:moveTo>
                  <a:lnTo>
                    <a:pt x="72" y="215"/>
                  </a:lnTo>
                  <a:lnTo>
                    <a:pt x="72" y="200"/>
                  </a:lnTo>
                  <a:lnTo>
                    <a:pt x="85" y="200"/>
                  </a:lnTo>
                  <a:lnTo>
                    <a:pt x="72" y="186"/>
                  </a:lnTo>
                  <a:lnTo>
                    <a:pt x="72" y="173"/>
                  </a:lnTo>
                  <a:lnTo>
                    <a:pt x="85" y="173"/>
                  </a:lnTo>
                  <a:lnTo>
                    <a:pt x="101" y="173"/>
                  </a:lnTo>
                  <a:lnTo>
                    <a:pt x="101" y="157"/>
                  </a:lnTo>
                  <a:lnTo>
                    <a:pt x="85" y="128"/>
                  </a:lnTo>
                  <a:lnTo>
                    <a:pt x="72" y="128"/>
                  </a:lnTo>
                  <a:lnTo>
                    <a:pt x="72" y="144"/>
                  </a:lnTo>
                  <a:lnTo>
                    <a:pt x="56" y="144"/>
                  </a:lnTo>
                  <a:lnTo>
                    <a:pt x="43" y="173"/>
                  </a:lnTo>
                  <a:lnTo>
                    <a:pt x="14" y="186"/>
                  </a:lnTo>
                  <a:lnTo>
                    <a:pt x="0" y="157"/>
                  </a:lnTo>
                  <a:lnTo>
                    <a:pt x="14" y="128"/>
                  </a:lnTo>
                  <a:lnTo>
                    <a:pt x="43" y="101"/>
                  </a:lnTo>
                  <a:lnTo>
                    <a:pt x="43" y="85"/>
                  </a:lnTo>
                  <a:lnTo>
                    <a:pt x="56" y="70"/>
                  </a:lnTo>
                  <a:lnTo>
                    <a:pt x="85" y="70"/>
                  </a:lnTo>
                  <a:lnTo>
                    <a:pt x="114" y="56"/>
                  </a:lnTo>
                  <a:lnTo>
                    <a:pt x="130" y="29"/>
                  </a:lnTo>
                  <a:lnTo>
                    <a:pt x="130" y="14"/>
                  </a:lnTo>
                  <a:lnTo>
                    <a:pt x="144" y="0"/>
                  </a:lnTo>
                  <a:lnTo>
                    <a:pt x="159" y="14"/>
                  </a:lnTo>
                  <a:lnTo>
                    <a:pt x="175" y="29"/>
                  </a:lnTo>
                  <a:lnTo>
                    <a:pt x="188" y="0"/>
                  </a:lnTo>
                  <a:lnTo>
                    <a:pt x="202" y="14"/>
                  </a:lnTo>
                  <a:lnTo>
                    <a:pt x="202" y="0"/>
                  </a:lnTo>
                  <a:lnTo>
                    <a:pt x="215" y="14"/>
                  </a:lnTo>
                  <a:lnTo>
                    <a:pt x="215" y="0"/>
                  </a:lnTo>
                  <a:lnTo>
                    <a:pt x="244" y="14"/>
                  </a:lnTo>
                  <a:lnTo>
                    <a:pt x="260" y="14"/>
                  </a:lnTo>
                  <a:lnTo>
                    <a:pt x="273" y="14"/>
                  </a:lnTo>
                  <a:lnTo>
                    <a:pt x="287" y="14"/>
                  </a:lnTo>
                  <a:lnTo>
                    <a:pt x="303" y="14"/>
                  </a:lnTo>
                  <a:lnTo>
                    <a:pt x="316" y="14"/>
                  </a:lnTo>
                  <a:lnTo>
                    <a:pt x="332" y="14"/>
                  </a:lnTo>
                  <a:lnTo>
                    <a:pt x="361" y="14"/>
                  </a:lnTo>
                  <a:lnTo>
                    <a:pt x="361" y="29"/>
                  </a:lnTo>
                  <a:lnTo>
                    <a:pt x="374" y="29"/>
                  </a:lnTo>
                  <a:lnTo>
                    <a:pt x="388" y="29"/>
                  </a:lnTo>
                  <a:lnTo>
                    <a:pt x="388" y="43"/>
                  </a:lnTo>
                  <a:lnTo>
                    <a:pt x="417" y="56"/>
                  </a:lnTo>
                  <a:lnTo>
                    <a:pt x="417" y="70"/>
                  </a:lnTo>
                  <a:lnTo>
                    <a:pt x="403" y="85"/>
                  </a:lnTo>
                  <a:lnTo>
                    <a:pt x="403" y="101"/>
                  </a:lnTo>
                  <a:lnTo>
                    <a:pt x="417" y="101"/>
                  </a:lnTo>
                  <a:lnTo>
                    <a:pt x="417" y="115"/>
                  </a:lnTo>
                  <a:lnTo>
                    <a:pt x="432" y="115"/>
                  </a:lnTo>
                  <a:lnTo>
                    <a:pt x="448" y="128"/>
                  </a:lnTo>
                  <a:lnTo>
                    <a:pt x="462" y="144"/>
                  </a:lnTo>
                  <a:lnTo>
                    <a:pt x="520" y="144"/>
                  </a:lnTo>
                  <a:lnTo>
                    <a:pt x="504" y="144"/>
                  </a:lnTo>
                  <a:lnTo>
                    <a:pt x="504" y="157"/>
                  </a:lnTo>
                  <a:lnTo>
                    <a:pt x="504" y="173"/>
                  </a:lnTo>
                  <a:lnTo>
                    <a:pt x="504" y="186"/>
                  </a:lnTo>
                  <a:lnTo>
                    <a:pt x="491" y="186"/>
                  </a:lnTo>
                  <a:lnTo>
                    <a:pt x="475" y="173"/>
                  </a:lnTo>
                  <a:lnTo>
                    <a:pt x="462" y="186"/>
                  </a:lnTo>
                  <a:lnTo>
                    <a:pt x="448" y="200"/>
                  </a:lnTo>
                  <a:lnTo>
                    <a:pt x="462" y="215"/>
                  </a:lnTo>
                  <a:lnTo>
                    <a:pt x="448" y="229"/>
                  </a:lnTo>
                  <a:lnTo>
                    <a:pt x="432" y="215"/>
                  </a:lnTo>
                  <a:lnTo>
                    <a:pt x="417" y="215"/>
                  </a:lnTo>
                  <a:lnTo>
                    <a:pt x="403" y="215"/>
                  </a:lnTo>
                  <a:lnTo>
                    <a:pt x="388" y="215"/>
                  </a:lnTo>
                  <a:lnTo>
                    <a:pt x="388" y="200"/>
                  </a:lnTo>
                  <a:lnTo>
                    <a:pt x="374" y="186"/>
                  </a:lnTo>
                  <a:lnTo>
                    <a:pt x="361" y="186"/>
                  </a:lnTo>
                  <a:lnTo>
                    <a:pt x="361" y="200"/>
                  </a:lnTo>
                  <a:lnTo>
                    <a:pt x="361" y="229"/>
                  </a:lnTo>
                  <a:lnTo>
                    <a:pt x="345" y="229"/>
                  </a:lnTo>
                  <a:lnTo>
                    <a:pt x="332" y="245"/>
                  </a:lnTo>
                  <a:lnTo>
                    <a:pt x="316" y="258"/>
                  </a:lnTo>
                  <a:lnTo>
                    <a:pt x="316" y="272"/>
                  </a:lnTo>
                  <a:lnTo>
                    <a:pt x="303" y="258"/>
                  </a:lnTo>
                  <a:lnTo>
                    <a:pt x="287" y="245"/>
                  </a:lnTo>
                  <a:lnTo>
                    <a:pt x="273" y="229"/>
                  </a:lnTo>
                  <a:lnTo>
                    <a:pt x="273" y="215"/>
                  </a:lnTo>
                  <a:lnTo>
                    <a:pt x="273" y="200"/>
                  </a:lnTo>
                  <a:lnTo>
                    <a:pt x="260" y="186"/>
                  </a:lnTo>
                  <a:lnTo>
                    <a:pt x="244" y="186"/>
                  </a:lnTo>
                  <a:lnTo>
                    <a:pt x="231" y="200"/>
                  </a:lnTo>
                  <a:lnTo>
                    <a:pt x="231" y="215"/>
                  </a:lnTo>
                  <a:lnTo>
                    <a:pt x="215" y="245"/>
                  </a:lnTo>
                  <a:lnTo>
                    <a:pt x="202" y="245"/>
                  </a:lnTo>
                  <a:lnTo>
                    <a:pt x="175" y="245"/>
                  </a:lnTo>
                  <a:lnTo>
                    <a:pt x="159" y="229"/>
                  </a:lnTo>
                  <a:lnTo>
                    <a:pt x="101" y="245"/>
                  </a:lnTo>
                  <a:lnTo>
                    <a:pt x="85" y="229"/>
                  </a:lnTo>
                  <a:close/>
                </a:path>
              </a:pathLst>
            </a:custGeom>
            <a:grpFill/>
            <a:ln w="3175" cmpd="sng">
              <a:solidFill>
                <a:schemeClr val="bg1"/>
              </a:solidFill>
              <a:round/>
              <a:headEnd/>
              <a:tailEnd/>
            </a:ln>
          </p:spPr>
          <p:txBody>
            <a:bodyPr/>
            <a:lstStyle/>
            <a:p>
              <a:endParaRPr lang="da-DK"/>
            </a:p>
          </p:txBody>
        </p:sp>
        <p:sp>
          <p:nvSpPr>
            <p:cNvPr id="55" name="Freeform 1074">
              <a:extLst>
                <a:ext uri="{FF2B5EF4-FFF2-40B4-BE49-F238E27FC236}">
                  <a16:creationId xmlns:a16="http://schemas.microsoft.com/office/drawing/2014/main" id="{CD991062-B64E-5129-8B3C-FE2F2F9E6D97}"/>
                </a:ext>
              </a:extLst>
            </p:cNvPr>
            <p:cNvSpPr>
              <a:spLocks/>
            </p:cNvSpPr>
            <p:nvPr>
              <p:custDataLst>
                <p:tags r:id="rId34"/>
              </p:custDataLst>
            </p:nvPr>
          </p:nvSpPr>
          <p:spPr bwMode="auto">
            <a:xfrm>
              <a:off x="4809094" y="2917249"/>
              <a:ext cx="280472" cy="327461"/>
            </a:xfrm>
            <a:custGeom>
              <a:avLst/>
              <a:gdLst>
                <a:gd name="T0" fmla="*/ 65814 w 258"/>
                <a:gd name="T1" fmla="*/ 323089 h 332"/>
                <a:gd name="T2" fmla="*/ 118700 w 258"/>
                <a:gd name="T3" fmla="*/ 339084 h 332"/>
                <a:gd name="T4" fmla="*/ 116349 w 258"/>
                <a:gd name="T5" fmla="*/ 354012 h 332"/>
                <a:gd name="T6" fmla="*/ 150431 w 258"/>
                <a:gd name="T7" fmla="*/ 339084 h 332"/>
                <a:gd name="T8" fmla="*/ 116349 w 258"/>
                <a:gd name="T9" fmla="*/ 308161 h 332"/>
                <a:gd name="T10" fmla="*/ 150431 w 258"/>
                <a:gd name="T11" fmla="*/ 292167 h 332"/>
                <a:gd name="T12" fmla="*/ 133978 w 258"/>
                <a:gd name="T13" fmla="*/ 262310 h 332"/>
                <a:gd name="T14" fmla="*/ 150431 w 258"/>
                <a:gd name="T15" fmla="*/ 246316 h 332"/>
                <a:gd name="T16" fmla="*/ 168060 w 258"/>
                <a:gd name="T17" fmla="*/ 231387 h 332"/>
                <a:gd name="T18" fmla="*/ 203317 w 258"/>
                <a:gd name="T19" fmla="*/ 217525 h 332"/>
                <a:gd name="T20" fmla="*/ 237399 w 258"/>
                <a:gd name="T21" fmla="*/ 184470 h 332"/>
                <a:gd name="T22" fmla="*/ 237399 w 258"/>
                <a:gd name="T23" fmla="*/ 138619 h 332"/>
                <a:gd name="T24" fmla="*/ 271481 w 258"/>
                <a:gd name="T25" fmla="*/ 122625 h 332"/>
                <a:gd name="T26" fmla="*/ 286760 w 258"/>
                <a:gd name="T27" fmla="*/ 138619 h 332"/>
                <a:gd name="T28" fmla="*/ 303213 w 258"/>
                <a:gd name="T29" fmla="*/ 107696 h 332"/>
                <a:gd name="T30" fmla="*/ 286760 w 258"/>
                <a:gd name="T31" fmla="*/ 78906 h 332"/>
                <a:gd name="T32" fmla="*/ 252678 w 258"/>
                <a:gd name="T33" fmla="*/ 78906 h 332"/>
                <a:gd name="T34" fmla="*/ 237399 w 258"/>
                <a:gd name="T35" fmla="*/ 61845 h 332"/>
                <a:gd name="T36" fmla="*/ 252678 w 258"/>
                <a:gd name="T37" fmla="*/ 30923 h 332"/>
                <a:gd name="T38" fmla="*/ 252678 w 258"/>
                <a:gd name="T39" fmla="*/ 17061 h 332"/>
                <a:gd name="T40" fmla="*/ 237399 w 258"/>
                <a:gd name="T41" fmla="*/ 0 h 332"/>
                <a:gd name="T42" fmla="*/ 218595 w 258"/>
                <a:gd name="T43" fmla="*/ 17061 h 332"/>
                <a:gd name="T44" fmla="*/ 168060 w 258"/>
                <a:gd name="T45" fmla="*/ 17061 h 332"/>
                <a:gd name="T46" fmla="*/ 168060 w 258"/>
                <a:gd name="T47" fmla="*/ 47984 h 332"/>
                <a:gd name="T48" fmla="*/ 168060 w 258"/>
                <a:gd name="T49" fmla="*/ 78906 h 332"/>
                <a:gd name="T50" fmla="*/ 150431 w 258"/>
                <a:gd name="T51" fmla="*/ 47984 h 332"/>
                <a:gd name="T52" fmla="*/ 133978 w 258"/>
                <a:gd name="T53" fmla="*/ 47984 h 332"/>
                <a:gd name="T54" fmla="*/ 116349 w 258"/>
                <a:gd name="T55" fmla="*/ 30923 h 332"/>
                <a:gd name="T56" fmla="*/ 102246 w 258"/>
                <a:gd name="T57" fmla="*/ 61845 h 332"/>
                <a:gd name="T58" fmla="*/ 84618 w 258"/>
                <a:gd name="T59" fmla="*/ 78906 h 332"/>
                <a:gd name="T60" fmla="*/ 65814 w 258"/>
                <a:gd name="T61" fmla="*/ 47984 h 332"/>
                <a:gd name="T62" fmla="*/ 50536 w 258"/>
                <a:gd name="T63" fmla="*/ 30923 h 332"/>
                <a:gd name="T64" fmla="*/ 31732 w 258"/>
                <a:gd name="T65" fmla="*/ 47984 h 332"/>
                <a:gd name="T66" fmla="*/ 15278 w 258"/>
                <a:gd name="T67" fmla="*/ 78906 h 332"/>
                <a:gd name="T68" fmla="*/ 15278 w 258"/>
                <a:gd name="T69" fmla="*/ 122625 h 332"/>
                <a:gd name="T70" fmla="*/ 15278 w 258"/>
                <a:gd name="T71" fmla="*/ 155680 h 332"/>
                <a:gd name="T72" fmla="*/ 15278 w 258"/>
                <a:gd name="T73" fmla="*/ 184470 h 332"/>
                <a:gd name="T74" fmla="*/ 15278 w 258"/>
                <a:gd name="T75" fmla="*/ 217525 h 332"/>
                <a:gd name="T76" fmla="*/ 31732 w 258"/>
                <a:gd name="T77" fmla="*/ 231387 h 332"/>
                <a:gd name="T78" fmla="*/ 50536 w 258"/>
                <a:gd name="T79" fmla="*/ 262310 h 332"/>
                <a:gd name="T80" fmla="*/ 50536 w 258"/>
                <a:gd name="T81" fmla="*/ 308161 h 332"/>
                <a:gd name="T82" fmla="*/ 50536 w 258"/>
                <a:gd name="T83" fmla="*/ 339084 h 332"/>
                <a:gd name="T84" fmla="*/ 50536 w 258"/>
                <a:gd name="T85" fmla="*/ 323089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close/>
                </a:path>
              </a:pathLst>
            </a:custGeom>
            <a:grpFill/>
            <a:ln w="3175" cmpd="sng">
              <a:solidFill>
                <a:schemeClr val="bg1"/>
              </a:solidFill>
              <a:round/>
              <a:headEnd/>
              <a:tailEnd/>
            </a:ln>
          </p:spPr>
          <p:txBody>
            <a:bodyPr/>
            <a:lstStyle/>
            <a:p>
              <a:endParaRPr lang="da-DK"/>
            </a:p>
          </p:txBody>
        </p:sp>
        <p:sp>
          <p:nvSpPr>
            <p:cNvPr id="56" name="Freeform 1076">
              <a:extLst>
                <a:ext uri="{FF2B5EF4-FFF2-40B4-BE49-F238E27FC236}">
                  <a16:creationId xmlns:a16="http://schemas.microsoft.com/office/drawing/2014/main" id="{34487E37-6D31-6254-761E-0F56001D532B}"/>
                </a:ext>
              </a:extLst>
            </p:cNvPr>
            <p:cNvSpPr>
              <a:spLocks/>
            </p:cNvSpPr>
            <p:nvPr>
              <p:custDataLst>
                <p:tags r:id="rId35"/>
              </p:custDataLst>
            </p:nvPr>
          </p:nvSpPr>
          <p:spPr bwMode="auto">
            <a:xfrm>
              <a:off x="4411147" y="3213873"/>
              <a:ext cx="1020564" cy="1202650"/>
            </a:xfrm>
            <a:custGeom>
              <a:avLst/>
              <a:gdLst>
                <a:gd name="T0" fmla="*/ 34075 w 939"/>
                <a:gd name="T1" fmla="*/ 793716 h 1222"/>
                <a:gd name="T2" fmla="*/ 34075 w 939"/>
                <a:gd name="T3" fmla="*/ 870321 h 1222"/>
                <a:gd name="T4" fmla="*/ 152748 w 939"/>
                <a:gd name="T5" fmla="*/ 946926 h 1222"/>
                <a:gd name="T6" fmla="*/ 152748 w 939"/>
                <a:gd name="T7" fmla="*/ 1008636 h 1222"/>
                <a:gd name="T8" fmla="*/ 118674 w 939"/>
                <a:gd name="T9" fmla="*/ 1116097 h 1222"/>
                <a:gd name="T10" fmla="*/ 118674 w 939"/>
                <a:gd name="T11" fmla="*/ 1192702 h 1222"/>
                <a:gd name="T12" fmla="*/ 205623 w 939"/>
                <a:gd name="T13" fmla="*/ 1192702 h 1222"/>
                <a:gd name="T14" fmla="*/ 290222 w 939"/>
                <a:gd name="T15" fmla="*/ 1208661 h 1222"/>
                <a:gd name="T16" fmla="*/ 373646 w 939"/>
                <a:gd name="T17" fmla="*/ 1223557 h 1222"/>
                <a:gd name="T18" fmla="*/ 458245 w 939"/>
                <a:gd name="T19" fmla="*/ 1268243 h 1222"/>
                <a:gd name="T20" fmla="*/ 542844 w 939"/>
                <a:gd name="T21" fmla="*/ 1252284 h 1222"/>
                <a:gd name="T22" fmla="*/ 629793 w 939"/>
                <a:gd name="T23" fmla="*/ 1252284 h 1222"/>
                <a:gd name="T24" fmla="*/ 729666 w 939"/>
                <a:gd name="T25" fmla="*/ 1237388 h 1222"/>
                <a:gd name="T26" fmla="*/ 797816 w 939"/>
                <a:gd name="T27" fmla="*/ 1268243 h 1222"/>
                <a:gd name="T28" fmla="*/ 831890 w 939"/>
                <a:gd name="T29" fmla="*/ 1268243 h 1222"/>
                <a:gd name="T30" fmla="*/ 797816 w 939"/>
                <a:gd name="T31" fmla="*/ 1192702 h 1222"/>
                <a:gd name="T32" fmla="*/ 882415 w 939"/>
                <a:gd name="T33" fmla="*/ 1116097 h 1222"/>
                <a:gd name="T34" fmla="*/ 932939 w 939"/>
                <a:gd name="T35" fmla="*/ 1085242 h 1222"/>
                <a:gd name="T36" fmla="*/ 865965 w 939"/>
                <a:gd name="T37" fmla="*/ 1025660 h 1222"/>
                <a:gd name="T38" fmla="*/ 797816 w 939"/>
                <a:gd name="T39" fmla="*/ 918200 h 1222"/>
                <a:gd name="T40" fmla="*/ 747291 w 939"/>
                <a:gd name="T41" fmla="*/ 824571 h 1222"/>
                <a:gd name="T42" fmla="*/ 782541 w 939"/>
                <a:gd name="T43" fmla="*/ 779884 h 1222"/>
                <a:gd name="T44" fmla="*/ 897689 w 939"/>
                <a:gd name="T45" fmla="*/ 764989 h 1222"/>
                <a:gd name="T46" fmla="*/ 1037513 w 939"/>
                <a:gd name="T47" fmla="*/ 688384 h 1222"/>
                <a:gd name="T48" fmla="*/ 1086862 w 939"/>
                <a:gd name="T49" fmla="*/ 688384 h 1222"/>
                <a:gd name="T50" fmla="*/ 1086862 w 939"/>
                <a:gd name="T51" fmla="*/ 595819 h 1222"/>
                <a:gd name="T52" fmla="*/ 1069237 w 939"/>
                <a:gd name="T53" fmla="*/ 474527 h 1222"/>
                <a:gd name="T54" fmla="*/ 1037513 w 939"/>
                <a:gd name="T55" fmla="*/ 414945 h 1222"/>
                <a:gd name="T56" fmla="*/ 1052788 w 939"/>
                <a:gd name="T57" fmla="*/ 321317 h 1222"/>
                <a:gd name="T58" fmla="*/ 1001088 w 939"/>
                <a:gd name="T59" fmla="*/ 213856 h 1222"/>
                <a:gd name="T60" fmla="*/ 932939 w 939"/>
                <a:gd name="T61" fmla="*/ 154275 h 1222"/>
                <a:gd name="T62" fmla="*/ 865965 w 939"/>
                <a:gd name="T63" fmla="*/ 154275 h 1222"/>
                <a:gd name="T64" fmla="*/ 763741 w 939"/>
                <a:gd name="T65" fmla="*/ 183002 h 1222"/>
                <a:gd name="T66" fmla="*/ 697942 w 939"/>
                <a:gd name="T67" fmla="*/ 154275 h 1222"/>
                <a:gd name="T68" fmla="*/ 679142 w 939"/>
                <a:gd name="T69" fmla="*/ 121292 h 1222"/>
                <a:gd name="T70" fmla="*/ 610993 w 939"/>
                <a:gd name="T71" fmla="*/ 92565 h 1222"/>
                <a:gd name="T72" fmla="*/ 576918 w 939"/>
                <a:gd name="T73" fmla="*/ 46814 h 1222"/>
                <a:gd name="T74" fmla="*/ 477044 w 939"/>
                <a:gd name="T75" fmla="*/ 0 h 1222"/>
                <a:gd name="T76" fmla="*/ 458245 w 939"/>
                <a:gd name="T77" fmla="*/ 92565 h 1222"/>
                <a:gd name="T78" fmla="*/ 458245 w 939"/>
                <a:gd name="T79" fmla="*/ 138315 h 1222"/>
                <a:gd name="T80" fmla="*/ 526394 w 939"/>
                <a:gd name="T81" fmla="*/ 228752 h 1222"/>
                <a:gd name="T82" fmla="*/ 426520 w 939"/>
                <a:gd name="T83" fmla="*/ 197897 h 1222"/>
                <a:gd name="T84" fmla="*/ 390095 w 939"/>
                <a:gd name="T85" fmla="*/ 245775 h 1222"/>
                <a:gd name="T86" fmla="*/ 358371 w 939"/>
                <a:gd name="T87" fmla="*/ 228752 h 1222"/>
                <a:gd name="T88" fmla="*/ 273772 w 939"/>
                <a:gd name="T89" fmla="*/ 183002 h 1222"/>
                <a:gd name="T90" fmla="*/ 258497 w 939"/>
                <a:gd name="T91" fmla="*/ 228752 h 1222"/>
                <a:gd name="T92" fmla="*/ 258497 w 939"/>
                <a:gd name="T93" fmla="*/ 307485 h 1222"/>
                <a:gd name="T94" fmla="*/ 239697 w 939"/>
                <a:gd name="T95" fmla="*/ 381962 h 1222"/>
                <a:gd name="T96" fmla="*/ 205623 w 939"/>
                <a:gd name="T97" fmla="*/ 474527 h 1222"/>
                <a:gd name="T98" fmla="*/ 86949 w 939"/>
                <a:gd name="T99" fmla="*/ 474527 h 1222"/>
                <a:gd name="T100" fmla="*/ 52874 w 939"/>
                <a:gd name="T101" fmla="*/ 564964 h 1222"/>
                <a:gd name="T102" fmla="*/ 0 w 939"/>
                <a:gd name="T103" fmla="*/ 657529 h 1222"/>
                <a:gd name="T104" fmla="*/ 0 w 939"/>
                <a:gd name="T105" fmla="*/ 703279 h 1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39" h="1222">
                  <a:moveTo>
                    <a:pt x="0" y="690"/>
                  </a:moveTo>
                  <a:lnTo>
                    <a:pt x="0" y="704"/>
                  </a:lnTo>
                  <a:lnTo>
                    <a:pt x="16" y="719"/>
                  </a:lnTo>
                  <a:lnTo>
                    <a:pt x="29" y="733"/>
                  </a:lnTo>
                  <a:lnTo>
                    <a:pt x="29" y="746"/>
                  </a:lnTo>
                  <a:lnTo>
                    <a:pt x="29" y="762"/>
                  </a:lnTo>
                  <a:lnTo>
                    <a:pt x="29" y="775"/>
                  </a:lnTo>
                  <a:lnTo>
                    <a:pt x="29" y="789"/>
                  </a:lnTo>
                  <a:lnTo>
                    <a:pt x="16" y="789"/>
                  </a:lnTo>
                  <a:lnTo>
                    <a:pt x="29" y="818"/>
                  </a:lnTo>
                  <a:lnTo>
                    <a:pt x="45" y="847"/>
                  </a:lnTo>
                  <a:lnTo>
                    <a:pt x="59" y="863"/>
                  </a:lnTo>
                  <a:lnTo>
                    <a:pt x="88" y="876"/>
                  </a:lnTo>
                  <a:lnTo>
                    <a:pt x="117" y="876"/>
                  </a:lnTo>
                  <a:lnTo>
                    <a:pt x="130" y="890"/>
                  </a:lnTo>
                  <a:lnTo>
                    <a:pt x="146" y="890"/>
                  </a:lnTo>
                  <a:lnTo>
                    <a:pt x="159" y="890"/>
                  </a:lnTo>
                  <a:lnTo>
                    <a:pt x="175" y="905"/>
                  </a:lnTo>
                  <a:lnTo>
                    <a:pt x="146" y="935"/>
                  </a:lnTo>
                  <a:lnTo>
                    <a:pt x="130" y="948"/>
                  </a:lnTo>
                  <a:lnTo>
                    <a:pt x="117" y="977"/>
                  </a:lnTo>
                  <a:lnTo>
                    <a:pt x="117" y="991"/>
                  </a:lnTo>
                  <a:lnTo>
                    <a:pt x="101" y="1004"/>
                  </a:lnTo>
                  <a:lnTo>
                    <a:pt x="101" y="1020"/>
                  </a:lnTo>
                  <a:lnTo>
                    <a:pt x="101" y="1049"/>
                  </a:lnTo>
                  <a:lnTo>
                    <a:pt x="101" y="1062"/>
                  </a:lnTo>
                  <a:lnTo>
                    <a:pt x="88" y="1076"/>
                  </a:lnTo>
                  <a:lnTo>
                    <a:pt x="88" y="1109"/>
                  </a:lnTo>
                  <a:lnTo>
                    <a:pt x="88" y="1107"/>
                  </a:lnTo>
                  <a:lnTo>
                    <a:pt x="101" y="1121"/>
                  </a:lnTo>
                  <a:lnTo>
                    <a:pt x="101" y="1107"/>
                  </a:lnTo>
                  <a:lnTo>
                    <a:pt x="130" y="1121"/>
                  </a:lnTo>
                  <a:lnTo>
                    <a:pt x="146" y="1121"/>
                  </a:lnTo>
                  <a:lnTo>
                    <a:pt x="159" y="1121"/>
                  </a:lnTo>
                  <a:lnTo>
                    <a:pt x="175" y="1121"/>
                  </a:lnTo>
                  <a:lnTo>
                    <a:pt x="188" y="1121"/>
                  </a:lnTo>
                  <a:lnTo>
                    <a:pt x="204" y="1121"/>
                  </a:lnTo>
                  <a:lnTo>
                    <a:pt x="220" y="1121"/>
                  </a:lnTo>
                  <a:lnTo>
                    <a:pt x="247" y="1121"/>
                  </a:lnTo>
                  <a:lnTo>
                    <a:pt x="247" y="1136"/>
                  </a:lnTo>
                  <a:lnTo>
                    <a:pt x="262" y="1136"/>
                  </a:lnTo>
                  <a:lnTo>
                    <a:pt x="276" y="1136"/>
                  </a:lnTo>
                  <a:lnTo>
                    <a:pt x="276" y="1150"/>
                  </a:lnTo>
                  <a:lnTo>
                    <a:pt x="305" y="1163"/>
                  </a:lnTo>
                  <a:lnTo>
                    <a:pt x="318" y="1150"/>
                  </a:lnTo>
                  <a:lnTo>
                    <a:pt x="332" y="1150"/>
                  </a:lnTo>
                  <a:lnTo>
                    <a:pt x="348" y="1163"/>
                  </a:lnTo>
                  <a:lnTo>
                    <a:pt x="363" y="1177"/>
                  </a:lnTo>
                  <a:lnTo>
                    <a:pt x="377" y="1177"/>
                  </a:lnTo>
                  <a:lnTo>
                    <a:pt x="390" y="1192"/>
                  </a:lnTo>
                  <a:lnTo>
                    <a:pt x="406" y="1177"/>
                  </a:lnTo>
                  <a:lnTo>
                    <a:pt x="419" y="1177"/>
                  </a:lnTo>
                  <a:lnTo>
                    <a:pt x="435" y="1150"/>
                  </a:lnTo>
                  <a:lnTo>
                    <a:pt x="462" y="1163"/>
                  </a:lnTo>
                  <a:lnTo>
                    <a:pt x="462" y="1177"/>
                  </a:lnTo>
                  <a:lnTo>
                    <a:pt x="476" y="1177"/>
                  </a:lnTo>
                  <a:lnTo>
                    <a:pt x="491" y="1177"/>
                  </a:lnTo>
                  <a:lnTo>
                    <a:pt x="507" y="1163"/>
                  </a:lnTo>
                  <a:lnTo>
                    <a:pt x="520" y="1177"/>
                  </a:lnTo>
                  <a:lnTo>
                    <a:pt x="536" y="1177"/>
                  </a:lnTo>
                  <a:lnTo>
                    <a:pt x="549" y="1177"/>
                  </a:lnTo>
                  <a:lnTo>
                    <a:pt x="565" y="1163"/>
                  </a:lnTo>
                  <a:lnTo>
                    <a:pt x="578" y="1163"/>
                  </a:lnTo>
                  <a:lnTo>
                    <a:pt x="607" y="1163"/>
                  </a:lnTo>
                  <a:lnTo>
                    <a:pt x="621" y="1163"/>
                  </a:lnTo>
                  <a:lnTo>
                    <a:pt x="636" y="1177"/>
                  </a:lnTo>
                  <a:lnTo>
                    <a:pt x="636" y="1163"/>
                  </a:lnTo>
                  <a:lnTo>
                    <a:pt x="650" y="1163"/>
                  </a:lnTo>
                  <a:lnTo>
                    <a:pt x="679" y="1177"/>
                  </a:lnTo>
                  <a:lnTo>
                    <a:pt x="679" y="1192"/>
                  </a:lnTo>
                  <a:lnTo>
                    <a:pt x="679" y="1208"/>
                  </a:lnTo>
                  <a:lnTo>
                    <a:pt x="695" y="1222"/>
                  </a:lnTo>
                  <a:lnTo>
                    <a:pt x="695" y="1208"/>
                  </a:lnTo>
                  <a:lnTo>
                    <a:pt x="708" y="1208"/>
                  </a:lnTo>
                  <a:lnTo>
                    <a:pt x="708" y="1192"/>
                  </a:lnTo>
                  <a:lnTo>
                    <a:pt x="708" y="1177"/>
                  </a:lnTo>
                  <a:lnTo>
                    <a:pt x="695" y="1163"/>
                  </a:lnTo>
                  <a:lnTo>
                    <a:pt x="695" y="1150"/>
                  </a:lnTo>
                  <a:lnTo>
                    <a:pt x="695" y="1136"/>
                  </a:lnTo>
                  <a:lnTo>
                    <a:pt x="679" y="1121"/>
                  </a:lnTo>
                  <a:lnTo>
                    <a:pt x="679" y="1107"/>
                  </a:lnTo>
                  <a:lnTo>
                    <a:pt x="679" y="1076"/>
                  </a:lnTo>
                  <a:lnTo>
                    <a:pt x="724" y="1076"/>
                  </a:lnTo>
                  <a:lnTo>
                    <a:pt x="737" y="1062"/>
                  </a:lnTo>
                  <a:lnTo>
                    <a:pt x="751" y="1049"/>
                  </a:lnTo>
                  <a:lnTo>
                    <a:pt x="751" y="1033"/>
                  </a:lnTo>
                  <a:lnTo>
                    <a:pt x="764" y="1033"/>
                  </a:lnTo>
                  <a:lnTo>
                    <a:pt x="780" y="1033"/>
                  </a:lnTo>
                  <a:lnTo>
                    <a:pt x="794" y="1033"/>
                  </a:lnTo>
                  <a:lnTo>
                    <a:pt x="794" y="1020"/>
                  </a:lnTo>
                  <a:lnTo>
                    <a:pt x="794" y="1004"/>
                  </a:lnTo>
                  <a:lnTo>
                    <a:pt x="780" y="991"/>
                  </a:lnTo>
                  <a:lnTo>
                    <a:pt x="764" y="977"/>
                  </a:lnTo>
                  <a:lnTo>
                    <a:pt x="751" y="964"/>
                  </a:lnTo>
                  <a:lnTo>
                    <a:pt x="737" y="964"/>
                  </a:lnTo>
                  <a:lnTo>
                    <a:pt x="724" y="948"/>
                  </a:lnTo>
                  <a:lnTo>
                    <a:pt x="708" y="919"/>
                  </a:lnTo>
                  <a:lnTo>
                    <a:pt x="695" y="890"/>
                  </a:lnTo>
                  <a:lnTo>
                    <a:pt x="679" y="876"/>
                  </a:lnTo>
                  <a:lnTo>
                    <a:pt x="679" y="863"/>
                  </a:lnTo>
                  <a:lnTo>
                    <a:pt x="679" y="834"/>
                  </a:lnTo>
                  <a:lnTo>
                    <a:pt x="666" y="818"/>
                  </a:lnTo>
                  <a:lnTo>
                    <a:pt x="650" y="805"/>
                  </a:lnTo>
                  <a:lnTo>
                    <a:pt x="650" y="775"/>
                  </a:lnTo>
                  <a:lnTo>
                    <a:pt x="636" y="775"/>
                  </a:lnTo>
                  <a:lnTo>
                    <a:pt x="621" y="746"/>
                  </a:lnTo>
                  <a:lnTo>
                    <a:pt x="621" y="719"/>
                  </a:lnTo>
                  <a:lnTo>
                    <a:pt x="636" y="733"/>
                  </a:lnTo>
                  <a:lnTo>
                    <a:pt x="636" y="746"/>
                  </a:lnTo>
                  <a:lnTo>
                    <a:pt x="666" y="733"/>
                  </a:lnTo>
                  <a:lnTo>
                    <a:pt x="679" y="746"/>
                  </a:lnTo>
                  <a:lnTo>
                    <a:pt x="708" y="746"/>
                  </a:lnTo>
                  <a:lnTo>
                    <a:pt x="737" y="733"/>
                  </a:lnTo>
                  <a:lnTo>
                    <a:pt x="751" y="733"/>
                  </a:lnTo>
                  <a:lnTo>
                    <a:pt x="764" y="719"/>
                  </a:lnTo>
                  <a:lnTo>
                    <a:pt x="780" y="719"/>
                  </a:lnTo>
                  <a:lnTo>
                    <a:pt x="825" y="690"/>
                  </a:lnTo>
                  <a:lnTo>
                    <a:pt x="838" y="675"/>
                  </a:lnTo>
                  <a:lnTo>
                    <a:pt x="852" y="661"/>
                  </a:lnTo>
                  <a:lnTo>
                    <a:pt x="883" y="647"/>
                  </a:lnTo>
                  <a:lnTo>
                    <a:pt x="896" y="661"/>
                  </a:lnTo>
                  <a:lnTo>
                    <a:pt x="896" y="675"/>
                  </a:lnTo>
                  <a:lnTo>
                    <a:pt x="910" y="675"/>
                  </a:lnTo>
                  <a:lnTo>
                    <a:pt x="925" y="661"/>
                  </a:lnTo>
                  <a:lnTo>
                    <a:pt x="925" y="647"/>
                  </a:lnTo>
                  <a:lnTo>
                    <a:pt x="925" y="603"/>
                  </a:lnTo>
                  <a:lnTo>
                    <a:pt x="939" y="589"/>
                  </a:lnTo>
                  <a:lnTo>
                    <a:pt x="925" y="589"/>
                  </a:lnTo>
                  <a:lnTo>
                    <a:pt x="925" y="574"/>
                  </a:lnTo>
                  <a:lnTo>
                    <a:pt x="925" y="560"/>
                  </a:lnTo>
                  <a:lnTo>
                    <a:pt x="925" y="518"/>
                  </a:lnTo>
                  <a:lnTo>
                    <a:pt x="925" y="504"/>
                  </a:lnTo>
                  <a:lnTo>
                    <a:pt x="910" y="475"/>
                  </a:lnTo>
                  <a:lnTo>
                    <a:pt x="910" y="459"/>
                  </a:lnTo>
                  <a:lnTo>
                    <a:pt x="910" y="446"/>
                  </a:lnTo>
                  <a:lnTo>
                    <a:pt x="925" y="430"/>
                  </a:lnTo>
                  <a:lnTo>
                    <a:pt x="910" y="430"/>
                  </a:lnTo>
                  <a:lnTo>
                    <a:pt x="896" y="417"/>
                  </a:lnTo>
                  <a:lnTo>
                    <a:pt x="896" y="403"/>
                  </a:lnTo>
                  <a:lnTo>
                    <a:pt x="883" y="390"/>
                  </a:lnTo>
                  <a:lnTo>
                    <a:pt x="867" y="359"/>
                  </a:lnTo>
                  <a:lnTo>
                    <a:pt x="883" y="345"/>
                  </a:lnTo>
                  <a:lnTo>
                    <a:pt x="896" y="329"/>
                  </a:lnTo>
                  <a:lnTo>
                    <a:pt x="896" y="316"/>
                  </a:lnTo>
                  <a:lnTo>
                    <a:pt x="896" y="302"/>
                  </a:lnTo>
                  <a:lnTo>
                    <a:pt x="896" y="289"/>
                  </a:lnTo>
                  <a:lnTo>
                    <a:pt x="896" y="273"/>
                  </a:lnTo>
                  <a:lnTo>
                    <a:pt x="896" y="231"/>
                  </a:lnTo>
                  <a:lnTo>
                    <a:pt x="852" y="231"/>
                  </a:lnTo>
                  <a:lnTo>
                    <a:pt x="852" y="201"/>
                  </a:lnTo>
                  <a:lnTo>
                    <a:pt x="852" y="172"/>
                  </a:lnTo>
                  <a:lnTo>
                    <a:pt x="825" y="172"/>
                  </a:lnTo>
                  <a:lnTo>
                    <a:pt x="809" y="172"/>
                  </a:lnTo>
                  <a:lnTo>
                    <a:pt x="809" y="159"/>
                  </a:lnTo>
                  <a:lnTo>
                    <a:pt x="794" y="145"/>
                  </a:lnTo>
                  <a:lnTo>
                    <a:pt x="794" y="130"/>
                  </a:lnTo>
                  <a:lnTo>
                    <a:pt x="780" y="130"/>
                  </a:lnTo>
                  <a:lnTo>
                    <a:pt x="764" y="145"/>
                  </a:lnTo>
                  <a:lnTo>
                    <a:pt x="751" y="145"/>
                  </a:lnTo>
                  <a:lnTo>
                    <a:pt x="737" y="145"/>
                  </a:lnTo>
                  <a:lnTo>
                    <a:pt x="708" y="159"/>
                  </a:lnTo>
                  <a:lnTo>
                    <a:pt x="679" y="172"/>
                  </a:lnTo>
                  <a:lnTo>
                    <a:pt x="666" y="159"/>
                  </a:lnTo>
                  <a:lnTo>
                    <a:pt x="666" y="172"/>
                  </a:lnTo>
                  <a:lnTo>
                    <a:pt x="650" y="172"/>
                  </a:lnTo>
                  <a:lnTo>
                    <a:pt x="621" y="172"/>
                  </a:lnTo>
                  <a:lnTo>
                    <a:pt x="607" y="172"/>
                  </a:lnTo>
                  <a:lnTo>
                    <a:pt x="578" y="159"/>
                  </a:lnTo>
                  <a:lnTo>
                    <a:pt x="594" y="159"/>
                  </a:lnTo>
                  <a:lnTo>
                    <a:pt x="594" y="145"/>
                  </a:lnTo>
                  <a:lnTo>
                    <a:pt x="607" y="145"/>
                  </a:lnTo>
                  <a:lnTo>
                    <a:pt x="607" y="130"/>
                  </a:lnTo>
                  <a:lnTo>
                    <a:pt x="607" y="114"/>
                  </a:lnTo>
                  <a:lnTo>
                    <a:pt x="594" y="114"/>
                  </a:lnTo>
                  <a:lnTo>
                    <a:pt x="578" y="114"/>
                  </a:lnTo>
                  <a:lnTo>
                    <a:pt x="565" y="130"/>
                  </a:lnTo>
                  <a:lnTo>
                    <a:pt x="549" y="101"/>
                  </a:lnTo>
                  <a:lnTo>
                    <a:pt x="536" y="101"/>
                  </a:lnTo>
                  <a:lnTo>
                    <a:pt x="520" y="101"/>
                  </a:lnTo>
                  <a:lnTo>
                    <a:pt x="520" y="87"/>
                  </a:lnTo>
                  <a:lnTo>
                    <a:pt x="507" y="87"/>
                  </a:lnTo>
                  <a:lnTo>
                    <a:pt x="491" y="87"/>
                  </a:lnTo>
                  <a:lnTo>
                    <a:pt x="491" y="72"/>
                  </a:lnTo>
                  <a:lnTo>
                    <a:pt x="507" y="58"/>
                  </a:lnTo>
                  <a:lnTo>
                    <a:pt x="491" y="44"/>
                  </a:lnTo>
                  <a:lnTo>
                    <a:pt x="476" y="31"/>
                  </a:lnTo>
                  <a:lnTo>
                    <a:pt x="462" y="15"/>
                  </a:lnTo>
                  <a:lnTo>
                    <a:pt x="435" y="15"/>
                  </a:lnTo>
                  <a:lnTo>
                    <a:pt x="419" y="0"/>
                  </a:lnTo>
                  <a:lnTo>
                    <a:pt x="406" y="0"/>
                  </a:lnTo>
                  <a:lnTo>
                    <a:pt x="406" y="31"/>
                  </a:lnTo>
                  <a:lnTo>
                    <a:pt x="406" y="44"/>
                  </a:lnTo>
                  <a:lnTo>
                    <a:pt x="419" y="58"/>
                  </a:lnTo>
                  <a:lnTo>
                    <a:pt x="419" y="72"/>
                  </a:lnTo>
                  <a:lnTo>
                    <a:pt x="390" y="87"/>
                  </a:lnTo>
                  <a:lnTo>
                    <a:pt x="377" y="87"/>
                  </a:lnTo>
                  <a:lnTo>
                    <a:pt x="377" y="101"/>
                  </a:lnTo>
                  <a:lnTo>
                    <a:pt x="390" y="101"/>
                  </a:lnTo>
                  <a:lnTo>
                    <a:pt x="390" y="114"/>
                  </a:lnTo>
                  <a:lnTo>
                    <a:pt x="390" y="130"/>
                  </a:lnTo>
                  <a:lnTo>
                    <a:pt x="419" y="145"/>
                  </a:lnTo>
                  <a:lnTo>
                    <a:pt x="406" y="159"/>
                  </a:lnTo>
                  <a:lnTo>
                    <a:pt x="419" y="172"/>
                  </a:lnTo>
                  <a:lnTo>
                    <a:pt x="448" y="186"/>
                  </a:lnTo>
                  <a:lnTo>
                    <a:pt x="448" y="215"/>
                  </a:lnTo>
                  <a:lnTo>
                    <a:pt x="435" y="186"/>
                  </a:lnTo>
                  <a:lnTo>
                    <a:pt x="419" y="172"/>
                  </a:lnTo>
                  <a:lnTo>
                    <a:pt x="390" y="172"/>
                  </a:lnTo>
                  <a:lnTo>
                    <a:pt x="363" y="172"/>
                  </a:lnTo>
                  <a:lnTo>
                    <a:pt x="363" y="186"/>
                  </a:lnTo>
                  <a:lnTo>
                    <a:pt x="363" y="215"/>
                  </a:lnTo>
                  <a:lnTo>
                    <a:pt x="363" y="231"/>
                  </a:lnTo>
                  <a:lnTo>
                    <a:pt x="348" y="244"/>
                  </a:lnTo>
                  <a:lnTo>
                    <a:pt x="348" y="258"/>
                  </a:lnTo>
                  <a:lnTo>
                    <a:pt x="332" y="231"/>
                  </a:lnTo>
                  <a:lnTo>
                    <a:pt x="332" y="215"/>
                  </a:lnTo>
                  <a:lnTo>
                    <a:pt x="332" y="201"/>
                  </a:lnTo>
                  <a:lnTo>
                    <a:pt x="318" y="201"/>
                  </a:lnTo>
                  <a:lnTo>
                    <a:pt x="318" y="215"/>
                  </a:lnTo>
                  <a:lnTo>
                    <a:pt x="305" y="215"/>
                  </a:lnTo>
                  <a:lnTo>
                    <a:pt x="305" y="201"/>
                  </a:lnTo>
                  <a:lnTo>
                    <a:pt x="318" y="186"/>
                  </a:lnTo>
                  <a:lnTo>
                    <a:pt x="289" y="172"/>
                  </a:lnTo>
                  <a:lnTo>
                    <a:pt x="262" y="172"/>
                  </a:lnTo>
                  <a:lnTo>
                    <a:pt x="233" y="172"/>
                  </a:lnTo>
                  <a:lnTo>
                    <a:pt x="220" y="172"/>
                  </a:lnTo>
                  <a:lnTo>
                    <a:pt x="220" y="186"/>
                  </a:lnTo>
                  <a:lnTo>
                    <a:pt x="204" y="201"/>
                  </a:lnTo>
                  <a:lnTo>
                    <a:pt x="204" y="215"/>
                  </a:lnTo>
                  <a:lnTo>
                    <a:pt x="220" y="215"/>
                  </a:lnTo>
                  <a:lnTo>
                    <a:pt x="220" y="231"/>
                  </a:lnTo>
                  <a:lnTo>
                    <a:pt x="233" y="244"/>
                  </a:lnTo>
                  <a:lnTo>
                    <a:pt x="220" y="258"/>
                  </a:lnTo>
                  <a:lnTo>
                    <a:pt x="220" y="273"/>
                  </a:lnTo>
                  <a:lnTo>
                    <a:pt x="220" y="289"/>
                  </a:lnTo>
                  <a:lnTo>
                    <a:pt x="220" y="302"/>
                  </a:lnTo>
                  <a:lnTo>
                    <a:pt x="204" y="302"/>
                  </a:lnTo>
                  <a:lnTo>
                    <a:pt x="204" y="316"/>
                  </a:lnTo>
                  <a:lnTo>
                    <a:pt x="204" y="345"/>
                  </a:lnTo>
                  <a:lnTo>
                    <a:pt x="204" y="359"/>
                  </a:lnTo>
                  <a:lnTo>
                    <a:pt x="188" y="374"/>
                  </a:lnTo>
                  <a:lnTo>
                    <a:pt x="204" y="390"/>
                  </a:lnTo>
                  <a:lnTo>
                    <a:pt x="204" y="403"/>
                  </a:lnTo>
                  <a:lnTo>
                    <a:pt x="188" y="446"/>
                  </a:lnTo>
                  <a:lnTo>
                    <a:pt x="175" y="446"/>
                  </a:lnTo>
                  <a:lnTo>
                    <a:pt x="159" y="446"/>
                  </a:lnTo>
                  <a:lnTo>
                    <a:pt x="146" y="446"/>
                  </a:lnTo>
                  <a:lnTo>
                    <a:pt x="130" y="446"/>
                  </a:lnTo>
                  <a:lnTo>
                    <a:pt x="117" y="430"/>
                  </a:lnTo>
                  <a:lnTo>
                    <a:pt x="74" y="446"/>
                  </a:lnTo>
                  <a:lnTo>
                    <a:pt x="45" y="459"/>
                  </a:lnTo>
                  <a:lnTo>
                    <a:pt x="45" y="475"/>
                  </a:lnTo>
                  <a:lnTo>
                    <a:pt x="45" y="488"/>
                  </a:lnTo>
                  <a:lnTo>
                    <a:pt x="45" y="518"/>
                  </a:lnTo>
                  <a:lnTo>
                    <a:pt x="45" y="531"/>
                  </a:lnTo>
                  <a:lnTo>
                    <a:pt x="16" y="545"/>
                  </a:lnTo>
                  <a:lnTo>
                    <a:pt x="16" y="560"/>
                  </a:lnTo>
                  <a:lnTo>
                    <a:pt x="16" y="574"/>
                  </a:lnTo>
                  <a:lnTo>
                    <a:pt x="16" y="589"/>
                  </a:lnTo>
                  <a:lnTo>
                    <a:pt x="0" y="618"/>
                  </a:lnTo>
                  <a:lnTo>
                    <a:pt x="16" y="618"/>
                  </a:lnTo>
                  <a:lnTo>
                    <a:pt x="16" y="632"/>
                  </a:lnTo>
                  <a:lnTo>
                    <a:pt x="16" y="647"/>
                  </a:lnTo>
                  <a:lnTo>
                    <a:pt x="0" y="647"/>
                  </a:lnTo>
                  <a:lnTo>
                    <a:pt x="0" y="661"/>
                  </a:lnTo>
                  <a:lnTo>
                    <a:pt x="0" y="675"/>
                  </a:lnTo>
                  <a:lnTo>
                    <a:pt x="0" y="690"/>
                  </a:lnTo>
                  <a:close/>
                </a:path>
              </a:pathLst>
            </a:custGeom>
            <a:grpFill/>
            <a:ln w="3175" cmpd="sng">
              <a:solidFill>
                <a:schemeClr val="bg1"/>
              </a:solidFill>
              <a:round/>
              <a:headEnd/>
              <a:tailEnd/>
            </a:ln>
          </p:spPr>
          <p:txBody>
            <a:bodyPr/>
            <a:lstStyle/>
            <a:p>
              <a:endParaRPr lang="da-DK"/>
            </a:p>
          </p:txBody>
        </p:sp>
        <p:sp>
          <p:nvSpPr>
            <p:cNvPr id="57" name="Freeform 1077">
              <a:extLst>
                <a:ext uri="{FF2B5EF4-FFF2-40B4-BE49-F238E27FC236}">
                  <a16:creationId xmlns:a16="http://schemas.microsoft.com/office/drawing/2014/main" id="{BDEB61C7-3ABE-6D7A-DC48-8D611922EDB7}"/>
                </a:ext>
              </a:extLst>
            </p:cNvPr>
            <p:cNvSpPr>
              <a:spLocks/>
            </p:cNvSpPr>
            <p:nvPr>
              <p:custDataLst>
                <p:tags r:id="rId36"/>
              </p:custDataLst>
            </p:nvPr>
          </p:nvSpPr>
          <p:spPr bwMode="auto">
            <a:xfrm>
              <a:off x="4370031" y="3880545"/>
              <a:ext cx="77827" cy="113069"/>
            </a:xfrm>
            <a:custGeom>
              <a:avLst/>
              <a:gdLst>
                <a:gd name="T0" fmla="*/ 4740 w 71"/>
                <a:gd name="T1" fmla="*/ 103269 h 116"/>
                <a:gd name="T2" fmla="*/ 8295 w 71"/>
                <a:gd name="T3" fmla="*/ 76925 h 116"/>
                <a:gd name="T4" fmla="*/ 0 w 71"/>
                <a:gd name="T5" fmla="*/ 61118 h 116"/>
                <a:gd name="T6" fmla="*/ 0 w 71"/>
                <a:gd name="T7" fmla="*/ 46366 h 116"/>
                <a:gd name="T8" fmla="*/ 0 w 71"/>
                <a:gd name="T9" fmla="*/ 30559 h 116"/>
                <a:gd name="T10" fmla="*/ 17775 w 71"/>
                <a:gd name="T11" fmla="*/ 15807 h 116"/>
                <a:gd name="T12" fmla="*/ 34366 w 71"/>
                <a:gd name="T13" fmla="*/ 0 h 116"/>
                <a:gd name="T14" fmla="*/ 49771 w 71"/>
                <a:gd name="T15" fmla="*/ 15807 h 116"/>
                <a:gd name="T16" fmla="*/ 49771 w 71"/>
                <a:gd name="T17" fmla="*/ 30559 h 116"/>
                <a:gd name="T18" fmla="*/ 68732 w 71"/>
                <a:gd name="T19" fmla="*/ 46366 h 116"/>
                <a:gd name="T20" fmla="*/ 84137 w 71"/>
                <a:gd name="T21" fmla="*/ 61118 h 116"/>
                <a:gd name="T22" fmla="*/ 84137 w 71"/>
                <a:gd name="T23" fmla="*/ 74817 h 116"/>
                <a:gd name="T24" fmla="*/ 84137 w 71"/>
                <a:gd name="T25" fmla="*/ 91678 h 116"/>
                <a:gd name="T26" fmla="*/ 84137 w 71"/>
                <a:gd name="T27" fmla="*/ 105377 h 116"/>
                <a:gd name="T28" fmla="*/ 84137 w 71"/>
                <a:gd name="T29" fmla="*/ 122237 h 116"/>
                <a:gd name="T30" fmla="*/ 68732 w 71"/>
                <a:gd name="T31" fmla="*/ 122237 h 116"/>
                <a:gd name="T32" fmla="*/ 4740 w 71"/>
                <a:gd name="T33" fmla="*/ 103269 h 116"/>
                <a:gd name="T34" fmla="*/ 4740 w 71"/>
                <a:gd name="T35" fmla="*/ 103269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1" h="116">
                  <a:moveTo>
                    <a:pt x="4" y="98"/>
                  </a:moveTo>
                  <a:lnTo>
                    <a:pt x="7" y="73"/>
                  </a:lnTo>
                  <a:lnTo>
                    <a:pt x="0" y="58"/>
                  </a:lnTo>
                  <a:lnTo>
                    <a:pt x="0" y="44"/>
                  </a:lnTo>
                  <a:lnTo>
                    <a:pt x="0" y="29"/>
                  </a:lnTo>
                  <a:lnTo>
                    <a:pt x="15" y="15"/>
                  </a:lnTo>
                  <a:lnTo>
                    <a:pt x="29" y="0"/>
                  </a:lnTo>
                  <a:lnTo>
                    <a:pt x="42" y="15"/>
                  </a:lnTo>
                  <a:lnTo>
                    <a:pt x="42" y="29"/>
                  </a:lnTo>
                  <a:lnTo>
                    <a:pt x="58" y="44"/>
                  </a:lnTo>
                  <a:lnTo>
                    <a:pt x="71" y="58"/>
                  </a:lnTo>
                  <a:lnTo>
                    <a:pt x="71" y="71"/>
                  </a:lnTo>
                  <a:lnTo>
                    <a:pt x="71" y="87"/>
                  </a:lnTo>
                  <a:lnTo>
                    <a:pt x="71" y="100"/>
                  </a:lnTo>
                  <a:lnTo>
                    <a:pt x="71" y="116"/>
                  </a:lnTo>
                  <a:lnTo>
                    <a:pt x="58" y="116"/>
                  </a:lnTo>
                  <a:lnTo>
                    <a:pt x="4" y="98"/>
                  </a:lnTo>
                  <a:close/>
                </a:path>
              </a:pathLst>
            </a:custGeom>
            <a:grpFill/>
            <a:ln w="3175" cmpd="sng">
              <a:solidFill>
                <a:schemeClr val="bg1"/>
              </a:solidFill>
              <a:round/>
              <a:headEnd/>
              <a:tailEnd/>
            </a:ln>
          </p:spPr>
          <p:txBody>
            <a:bodyPr/>
            <a:lstStyle/>
            <a:p>
              <a:endParaRPr lang="da-DK"/>
            </a:p>
          </p:txBody>
        </p:sp>
        <p:sp>
          <p:nvSpPr>
            <p:cNvPr id="58" name="Freeform 1078">
              <a:extLst>
                <a:ext uri="{FF2B5EF4-FFF2-40B4-BE49-F238E27FC236}">
                  <a16:creationId xmlns:a16="http://schemas.microsoft.com/office/drawing/2014/main" id="{7E6CCDBB-B15A-17B2-F570-C777BA73CBC6}"/>
                </a:ext>
              </a:extLst>
            </p:cNvPr>
            <p:cNvSpPr>
              <a:spLocks/>
            </p:cNvSpPr>
            <p:nvPr>
              <p:custDataLst>
                <p:tags r:id="rId37"/>
              </p:custDataLst>
            </p:nvPr>
          </p:nvSpPr>
          <p:spPr bwMode="auto">
            <a:xfrm>
              <a:off x="4870768" y="2798306"/>
              <a:ext cx="251103" cy="143907"/>
            </a:xfrm>
            <a:custGeom>
              <a:avLst/>
              <a:gdLst>
                <a:gd name="T0" fmla="*/ 16452 w 231"/>
                <a:gd name="T1" fmla="*/ 155575 h 143"/>
                <a:gd name="T2" fmla="*/ 18803 w 231"/>
                <a:gd name="T3" fmla="*/ 141432 h 143"/>
                <a:gd name="T4" fmla="*/ 18803 w 231"/>
                <a:gd name="T5" fmla="*/ 124025 h 143"/>
                <a:gd name="T6" fmla="*/ 34080 w 231"/>
                <a:gd name="T7" fmla="*/ 109882 h 143"/>
                <a:gd name="T8" fmla="*/ 50532 w 231"/>
                <a:gd name="T9" fmla="*/ 109882 h 143"/>
                <a:gd name="T10" fmla="*/ 68160 w 231"/>
                <a:gd name="T11" fmla="*/ 109882 h 143"/>
                <a:gd name="T12" fmla="*/ 84612 w 231"/>
                <a:gd name="T13" fmla="*/ 109882 h 143"/>
                <a:gd name="T14" fmla="*/ 99889 w 231"/>
                <a:gd name="T15" fmla="*/ 109882 h 143"/>
                <a:gd name="T16" fmla="*/ 118692 w 231"/>
                <a:gd name="T17" fmla="*/ 109882 h 143"/>
                <a:gd name="T18" fmla="*/ 135144 w 231"/>
                <a:gd name="T19" fmla="*/ 92475 h 143"/>
                <a:gd name="T20" fmla="*/ 152771 w 231"/>
                <a:gd name="T21" fmla="*/ 92475 h 143"/>
                <a:gd name="T22" fmla="*/ 186851 w 231"/>
                <a:gd name="T23" fmla="*/ 92475 h 143"/>
                <a:gd name="T24" fmla="*/ 203303 w 231"/>
                <a:gd name="T25" fmla="*/ 109882 h 143"/>
                <a:gd name="T26" fmla="*/ 220931 w 231"/>
                <a:gd name="T27" fmla="*/ 124025 h 143"/>
                <a:gd name="T28" fmla="*/ 220931 w 231"/>
                <a:gd name="T29" fmla="*/ 109882 h 143"/>
                <a:gd name="T30" fmla="*/ 237383 w 231"/>
                <a:gd name="T31" fmla="*/ 92475 h 143"/>
                <a:gd name="T32" fmla="*/ 255011 w 231"/>
                <a:gd name="T33" fmla="*/ 78331 h 143"/>
                <a:gd name="T34" fmla="*/ 255011 w 231"/>
                <a:gd name="T35" fmla="*/ 46781 h 143"/>
                <a:gd name="T36" fmla="*/ 237383 w 231"/>
                <a:gd name="T37" fmla="*/ 46781 h 143"/>
                <a:gd name="T38" fmla="*/ 237383 w 231"/>
                <a:gd name="T39" fmla="*/ 31550 h 143"/>
                <a:gd name="T40" fmla="*/ 255011 w 231"/>
                <a:gd name="T41" fmla="*/ 15231 h 143"/>
                <a:gd name="T42" fmla="*/ 271463 w 231"/>
                <a:gd name="T43" fmla="*/ 0 h 143"/>
                <a:gd name="T44" fmla="*/ 255011 w 231"/>
                <a:gd name="T45" fmla="*/ 0 h 143"/>
                <a:gd name="T46" fmla="*/ 237383 w 231"/>
                <a:gd name="T47" fmla="*/ 15231 h 143"/>
                <a:gd name="T48" fmla="*/ 220931 w 231"/>
                <a:gd name="T49" fmla="*/ 15231 h 143"/>
                <a:gd name="T50" fmla="*/ 203303 w 231"/>
                <a:gd name="T51" fmla="*/ 15231 h 143"/>
                <a:gd name="T52" fmla="*/ 186851 w 231"/>
                <a:gd name="T53" fmla="*/ 31550 h 143"/>
                <a:gd name="T54" fmla="*/ 169224 w 231"/>
                <a:gd name="T55" fmla="*/ 31550 h 143"/>
                <a:gd name="T56" fmla="*/ 152771 w 231"/>
                <a:gd name="T57" fmla="*/ 46781 h 143"/>
                <a:gd name="T58" fmla="*/ 135144 w 231"/>
                <a:gd name="T59" fmla="*/ 63100 h 143"/>
                <a:gd name="T60" fmla="*/ 135144 w 231"/>
                <a:gd name="T61" fmla="*/ 78331 h 143"/>
                <a:gd name="T62" fmla="*/ 118692 w 231"/>
                <a:gd name="T63" fmla="*/ 92475 h 143"/>
                <a:gd name="T64" fmla="*/ 99889 w 231"/>
                <a:gd name="T65" fmla="*/ 92475 h 143"/>
                <a:gd name="T66" fmla="*/ 84612 w 231"/>
                <a:gd name="T67" fmla="*/ 92475 h 143"/>
                <a:gd name="T68" fmla="*/ 34080 w 231"/>
                <a:gd name="T69" fmla="*/ 92475 h 143"/>
                <a:gd name="T70" fmla="*/ 18803 w 231"/>
                <a:gd name="T71" fmla="*/ 92475 h 143"/>
                <a:gd name="T72" fmla="*/ 0 w 231"/>
                <a:gd name="T73" fmla="*/ 109882 h 143"/>
                <a:gd name="T74" fmla="*/ 0 w 231"/>
                <a:gd name="T75" fmla="*/ 124025 h 143"/>
                <a:gd name="T76" fmla="*/ 18803 w 231"/>
                <a:gd name="T77" fmla="*/ 155575 h 143"/>
                <a:gd name="T78" fmla="*/ 18803 w 231"/>
                <a:gd name="T79" fmla="*/ 155575 h 143"/>
                <a:gd name="T80" fmla="*/ 16452 w 231"/>
                <a:gd name="T81" fmla="*/ 155575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4" y="143"/>
                  </a:lnTo>
                  <a:close/>
                </a:path>
              </a:pathLst>
            </a:custGeom>
            <a:grpFill/>
            <a:ln w="3175" cmpd="sng">
              <a:solidFill>
                <a:schemeClr val="bg1"/>
              </a:solidFill>
              <a:round/>
              <a:headEnd/>
              <a:tailEnd/>
            </a:ln>
          </p:spPr>
          <p:txBody>
            <a:bodyPr/>
            <a:lstStyle/>
            <a:p>
              <a:endParaRPr lang="da-DK"/>
            </a:p>
          </p:txBody>
        </p:sp>
        <p:sp>
          <p:nvSpPr>
            <p:cNvPr id="59" name="Freeform 1080">
              <a:extLst>
                <a:ext uri="{FF2B5EF4-FFF2-40B4-BE49-F238E27FC236}">
                  <a16:creationId xmlns:a16="http://schemas.microsoft.com/office/drawing/2014/main" id="{303F47F8-F951-977E-A758-7A82186632EB}"/>
                </a:ext>
              </a:extLst>
            </p:cNvPr>
            <p:cNvSpPr>
              <a:spLocks/>
            </p:cNvSpPr>
            <p:nvPr>
              <p:custDataLst>
                <p:tags r:id="rId38"/>
              </p:custDataLst>
            </p:nvPr>
          </p:nvSpPr>
          <p:spPr bwMode="auto">
            <a:xfrm>
              <a:off x="4980901" y="3140452"/>
              <a:ext cx="77827" cy="67548"/>
            </a:xfrm>
            <a:custGeom>
              <a:avLst/>
              <a:gdLst>
                <a:gd name="T0" fmla="*/ 84137 w 72"/>
                <a:gd name="T1" fmla="*/ 73025 h 72"/>
                <a:gd name="T2" fmla="*/ 67777 w 72"/>
                <a:gd name="T3" fmla="*/ 73025 h 72"/>
                <a:gd name="T4" fmla="*/ 33889 w 72"/>
                <a:gd name="T5" fmla="*/ 73025 h 72"/>
                <a:gd name="T6" fmla="*/ 33889 w 72"/>
                <a:gd name="T7" fmla="*/ 56797 h 72"/>
                <a:gd name="T8" fmla="*/ 0 w 72"/>
                <a:gd name="T9" fmla="*/ 56797 h 72"/>
                <a:gd name="T10" fmla="*/ 0 w 72"/>
                <a:gd name="T11" fmla="*/ 29413 h 72"/>
                <a:gd name="T12" fmla="*/ 0 w 72"/>
                <a:gd name="T13" fmla="*/ 14199 h 72"/>
                <a:gd name="T14" fmla="*/ 16360 w 72"/>
                <a:gd name="T15" fmla="*/ 14199 h 72"/>
                <a:gd name="T16" fmla="*/ 16360 w 72"/>
                <a:gd name="T17" fmla="*/ 0 h 72"/>
                <a:gd name="T18" fmla="*/ 33889 w 72"/>
                <a:gd name="T19" fmla="*/ 14199 h 72"/>
                <a:gd name="T20" fmla="*/ 50248 w 72"/>
                <a:gd name="T21" fmla="*/ 0 h 72"/>
                <a:gd name="T22" fmla="*/ 67777 w 72"/>
                <a:gd name="T23" fmla="*/ 14199 h 72"/>
                <a:gd name="T24" fmla="*/ 84137 w 72"/>
                <a:gd name="T25" fmla="*/ 14199 h 72"/>
                <a:gd name="T26" fmla="*/ 84137 w 72"/>
                <a:gd name="T27" fmla="*/ 29413 h 72"/>
                <a:gd name="T28" fmla="*/ 84137 w 72"/>
                <a:gd name="T29" fmla="*/ 43612 h 72"/>
                <a:gd name="T30" fmla="*/ 84137 w 72"/>
                <a:gd name="T31" fmla="*/ 56797 h 72"/>
                <a:gd name="T32" fmla="*/ 84137 w 72"/>
                <a:gd name="T33" fmla="*/ 73025 h 72"/>
                <a:gd name="T34" fmla="*/ 67777 w 72"/>
                <a:gd name="T35" fmla="*/ 73025 h 72"/>
                <a:gd name="T36" fmla="*/ 84137 w 72"/>
                <a:gd name="T37" fmla="*/ 73025 h 72"/>
                <a:gd name="T38" fmla="*/ 84137 w 72"/>
                <a:gd name="T39" fmla="*/ 73025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close/>
                </a:path>
              </a:pathLst>
            </a:custGeom>
            <a:grpFill/>
            <a:ln w="3175" cmpd="sng">
              <a:solidFill>
                <a:schemeClr val="bg1"/>
              </a:solidFill>
              <a:round/>
              <a:headEnd/>
              <a:tailEnd/>
            </a:ln>
          </p:spPr>
          <p:txBody>
            <a:bodyPr/>
            <a:lstStyle/>
            <a:p>
              <a:endParaRPr lang="da-DK"/>
            </a:p>
          </p:txBody>
        </p:sp>
        <p:sp>
          <p:nvSpPr>
            <p:cNvPr id="60" name="Freeform 1082">
              <a:extLst>
                <a:ext uri="{FF2B5EF4-FFF2-40B4-BE49-F238E27FC236}">
                  <a16:creationId xmlns:a16="http://schemas.microsoft.com/office/drawing/2014/main" id="{2316943A-5531-8C06-5AD0-8B79A6EAC558}"/>
                </a:ext>
              </a:extLst>
            </p:cNvPr>
            <p:cNvSpPr>
              <a:spLocks/>
            </p:cNvSpPr>
            <p:nvPr>
              <p:custDataLst>
                <p:tags r:id="rId39"/>
              </p:custDataLst>
            </p:nvPr>
          </p:nvSpPr>
          <p:spPr bwMode="auto">
            <a:xfrm>
              <a:off x="5085160" y="3067030"/>
              <a:ext cx="157123" cy="168870"/>
            </a:xfrm>
            <a:custGeom>
              <a:avLst/>
              <a:gdLst>
                <a:gd name="T0" fmla="*/ 85525 w 143"/>
                <a:gd name="T1" fmla="*/ 182562 h 173"/>
                <a:gd name="T2" fmla="*/ 51078 w 143"/>
                <a:gd name="T3" fmla="*/ 167788 h 173"/>
                <a:gd name="T4" fmla="*/ 68895 w 143"/>
                <a:gd name="T5" fmla="*/ 167788 h 173"/>
                <a:gd name="T6" fmla="*/ 68895 w 143"/>
                <a:gd name="T7" fmla="*/ 151959 h 173"/>
                <a:gd name="T8" fmla="*/ 51078 w 143"/>
                <a:gd name="T9" fmla="*/ 151959 h 173"/>
                <a:gd name="T10" fmla="*/ 16630 w 143"/>
                <a:gd name="T11" fmla="*/ 151959 h 173"/>
                <a:gd name="T12" fmla="*/ 0 w 143"/>
                <a:gd name="T13" fmla="*/ 137185 h 173"/>
                <a:gd name="T14" fmla="*/ 0 w 143"/>
                <a:gd name="T15" fmla="*/ 123467 h 173"/>
                <a:gd name="T16" fmla="*/ 16630 w 143"/>
                <a:gd name="T17" fmla="*/ 108693 h 173"/>
                <a:gd name="T18" fmla="*/ 0 w 143"/>
                <a:gd name="T19" fmla="*/ 92864 h 173"/>
                <a:gd name="T20" fmla="*/ 0 w 143"/>
                <a:gd name="T21" fmla="*/ 75980 h 173"/>
                <a:gd name="T22" fmla="*/ 16630 w 143"/>
                <a:gd name="T23" fmla="*/ 62261 h 173"/>
                <a:gd name="T24" fmla="*/ 34448 w 143"/>
                <a:gd name="T25" fmla="*/ 62261 h 173"/>
                <a:gd name="T26" fmla="*/ 51078 w 143"/>
                <a:gd name="T27" fmla="*/ 45377 h 173"/>
                <a:gd name="T28" fmla="*/ 51078 w 143"/>
                <a:gd name="T29" fmla="*/ 31658 h 173"/>
                <a:gd name="T30" fmla="*/ 68895 w 143"/>
                <a:gd name="T31" fmla="*/ 31658 h 173"/>
                <a:gd name="T32" fmla="*/ 68895 w 143"/>
                <a:gd name="T33" fmla="*/ 45377 h 173"/>
                <a:gd name="T34" fmla="*/ 51078 w 143"/>
                <a:gd name="T35" fmla="*/ 62261 h 173"/>
                <a:gd name="T36" fmla="*/ 68895 w 143"/>
                <a:gd name="T37" fmla="*/ 75980 h 173"/>
                <a:gd name="T38" fmla="*/ 85525 w 143"/>
                <a:gd name="T39" fmla="*/ 75980 h 173"/>
                <a:gd name="T40" fmla="*/ 85525 w 143"/>
                <a:gd name="T41" fmla="*/ 62261 h 173"/>
                <a:gd name="T42" fmla="*/ 85525 w 143"/>
                <a:gd name="T43" fmla="*/ 45377 h 173"/>
                <a:gd name="T44" fmla="*/ 100968 w 143"/>
                <a:gd name="T45" fmla="*/ 45377 h 173"/>
                <a:gd name="T46" fmla="*/ 119973 w 143"/>
                <a:gd name="T47" fmla="*/ 45377 h 173"/>
                <a:gd name="T48" fmla="*/ 135415 w 143"/>
                <a:gd name="T49" fmla="*/ 31658 h 173"/>
                <a:gd name="T50" fmla="*/ 119973 w 143"/>
                <a:gd name="T51" fmla="*/ 16884 h 173"/>
                <a:gd name="T52" fmla="*/ 100968 w 143"/>
                <a:gd name="T53" fmla="*/ 16884 h 173"/>
                <a:gd name="T54" fmla="*/ 119973 w 143"/>
                <a:gd name="T55" fmla="*/ 0 h 173"/>
                <a:gd name="T56" fmla="*/ 135415 w 143"/>
                <a:gd name="T57" fmla="*/ 0 h 173"/>
                <a:gd name="T58" fmla="*/ 169863 w 143"/>
                <a:gd name="T59" fmla="*/ 0 h 173"/>
                <a:gd name="T60" fmla="*/ 154421 w 143"/>
                <a:gd name="T61" fmla="*/ 16884 h 173"/>
                <a:gd name="T62" fmla="*/ 169863 w 143"/>
                <a:gd name="T63" fmla="*/ 16884 h 173"/>
                <a:gd name="T64" fmla="*/ 154421 w 143"/>
                <a:gd name="T65" fmla="*/ 31658 h 173"/>
                <a:gd name="T66" fmla="*/ 169863 w 143"/>
                <a:gd name="T67" fmla="*/ 62261 h 173"/>
                <a:gd name="T68" fmla="*/ 154421 w 143"/>
                <a:gd name="T69" fmla="*/ 75980 h 173"/>
                <a:gd name="T70" fmla="*/ 119973 w 143"/>
                <a:gd name="T71" fmla="*/ 108693 h 173"/>
                <a:gd name="T72" fmla="*/ 135415 w 143"/>
                <a:gd name="T73" fmla="*/ 123467 h 173"/>
                <a:gd name="T74" fmla="*/ 119973 w 143"/>
                <a:gd name="T75" fmla="*/ 151959 h 173"/>
                <a:gd name="T76" fmla="*/ 100968 w 143"/>
                <a:gd name="T77" fmla="*/ 151959 h 173"/>
                <a:gd name="T78" fmla="*/ 85525 w 143"/>
                <a:gd name="T79" fmla="*/ 167788 h 173"/>
                <a:gd name="T80" fmla="*/ 100968 w 143"/>
                <a:gd name="T81" fmla="*/ 182562 h 173"/>
                <a:gd name="T82" fmla="*/ 85525 w 143"/>
                <a:gd name="T83" fmla="*/ 182562 h 173"/>
                <a:gd name="T84" fmla="*/ 85525 w 143"/>
                <a:gd name="T85" fmla="*/ 182562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close/>
                </a:path>
              </a:pathLst>
            </a:custGeom>
            <a:grpFill/>
            <a:ln w="3175" cmpd="sng">
              <a:solidFill>
                <a:schemeClr val="bg1"/>
              </a:solidFill>
              <a:round/>
              <a:headEnd/>
              <a:tailEnd/>
            </a:ln>
          </p:spPr>
          <p:txBody>
            <a:bodyPr/>
            <a:lstStyle/>
            <a:p>
              <a:endParaRPr lang="da-DK"/>
            </a:p>
          </p:txBody>
        </p:sp>
        <p:sp>
          <p:nvSpPr>
            <p:cNvPr id="61" name="Freeform 1084">
              <a:extLst>
                <a:ext uri="{FF2B5EF4-FFF2-40B4-BE49-F238E27FC236}">
                  <a16:creationId xmlns:a16="http://schemas.microsoft.com/office/drawing/2014/main" id="{F10AC817-B1C2-2106-9FDB-B7A78F1E402A}"/>
                </a:ext>
              </a:extLst>
            </p:cNvPr>
            <p:cNvSpPr>
              <a:spLocks/>
            </p:cNvSpPr>
            <p:nvPr>
              <p:custDataLst>
                <p:tags r:id="rId40"/>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close/>
                </a:path>
              </a:pathLst>
            </a:custGeom>
            <a:grpFill/>
            <a:ln w="3175" cmpd="sng">
              <a:solidFill>
                <a:schemeClr val="bg1"/>
              </a:solidFill>
              <a:round/>
              <a:headEnd/>
              <a:tailEnd/>
            </a:ln>
          </p:spPr>
          <p:txBody>
            <a:bodyPr/>
            <a:lstStyle/>
            <a:p>
              <a:endParaRPr lang="da-DK"/>
            </a:p>
          </p:txBody>
        </p:sp>
        <p:sp>
          <p:nvSpPr>
            <p:cNvPr id="62" name="Freeform 1085">
              <a:extLst>
                <a:ext uri="{FF2B5EF4-FFF2-40B4-BE49-F238E27FC236}">
                  <a16:creationId xmlns:a16="http://schemas.microsoft.com/office/drawing/2014/main" id="{F4014D52-5C27-27E9-B4EA-F59BF51ED360}"/>
                </a:ext>
              </a:extLst>
            </p:cNvPr>
            <p:cNvSpPr>
              <a:spLocks/>
            </p:cNvSpPr>
            <p:nvPr>
              <p:custDataLst>
                <p:tags r:id="rId41"/>
              </p:custDataLst>
            </p:nvPr>
          </p:nvSpPr>
          <p:spPr bwMode="auto">
            <a:xfrm>
              <a:off x="5067539" y="3249117"/>
              <a:ext cx="63143" cy="44053"/>
            </a:xfrm>
            <a:custGeom>
              <a:avLst/>
              <a:gdLst>
                <a:gd name="T0" fmla="*/ 52065 w 59"/>
                <a:gd name="T1" fmla="*/ 47625 h 44"/>
                <a:gd name="T2" fmla="*/ 34710 w 59"/>
                <a:gd name="T3" fmla="*/ 47625 h 44"/>
                <a:gd name="T4" fmla="*/ 18512 w 59"/>
                <a:gd name="T5" fmla="*/ 31389 h 44"/>
                <a:gd name="T6" fmla="*/ 0 w 59"/>
                <a:gd name="T7" fmla="*/ 16236 h 44"/>
                <a:gd name="T8" fmla="*/ 0 w 59"/>
                <a:gd name="T9" fmla="*/ 0 h 44"/>
                <a:gd name="T10" fmla="*/ 18512 w 59"/>
                <a:gd name="T11" fmla="*/ 0 h 44"/>
                <a:gd name="T12" fmla="*/ 34710 w 59"/>
                <a:gd name="T13" fmla="*/ 0 h 44"/>
                <a:gd name="T14" fmla="*/ 34710 w 59"/>
                <a:gd name="T15" fmla="*/ 16236 h 44"/>
                <a:gd name="T16" fmla="*/ 52065 w 59"/>
                <a:gd name="T17" fmla="*/ 16236 h 44"/>
                <a:gd name="T18" fmla="*/ 68263 w 59"/>
                <a:gd name="T19" fmla="*/ 31389 h 44"/>
                <a:gd name="T20" fmla="*/ 68263 w 59"/>
                <a:gd name="T21" fmla="*/ 47625 h 44"/>
                <a:gd name="T22" fmla="*/ 52065 w 59"/>
                <a:gd name="T23" fmla="*/ 47625 h 44"/>
                <a:gd name="T24" fmla="*/ 52065 w 59"/>
                <a:gd name="T25" fmla="*/ 4762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path>
              </a:pathLst>
            </a:custGeom>
            <a:grpFill/>
            <a:ln w="3175" cmpd="sng">
              <a:solidFill>
                <a:schemeClr val="bg1"/>
              </a:solidFill>
              <a:prstDash val="solid"/>
              <a:round/>
              <a:headEnd/>
              <a:tailEnd/>
            </a:ln>
          </p:spPr>
          <p:txBody>
            <a:bodyPr/>
            <a:lstStyle/>
            <a:p>
              <a:endParaRPr lang="da-DK"/>
            </a:p>
          </p:txBody>
        </p:sp>
        <p:sp>
          <p:nvSpPr>
            <p:cNvPr id="63" name="Freeform 1086">
              <a:extLst>
                <a:ext uri="{FF2B5EF4-FFF2-40B4-BE49-F238E27FC236}">
                  <a16:creationId xmlns:a16="http://schemas.microsoft.com/office/drawing/2014/main" id="{6D502A46-F79B-C708-7A2B-E19685DAFB67}"/>
                </a:ext>
              </a:extLst>
            </p:cNvPr>
            <p:cNvSpPr>
              <a:spLocks/>
            </p:cNvSpPr>
            <p:nvPr>
              <p:custDataLst>
                <p:tags r:id="rId42"/>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w 27"/>
                <a:gd name="T21" fmla="*/ 3138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close/>
                </a:path>
              </a:pathLst>
            </a:custGeom>
            <a:grpFill/>
            <a:ln w="3175" cmpd="sng">
              <a:solidFill>
                <a:schemeClr val="bg1"/>
              </a:solidFill>
              <a:round/>
              <a:headEnd/>
              <a:tailEnd/>
            </a:ln>
          </p:spPr>
          <p:txBody>
            <a:bodyPr/>
            <a:lstStyle/>
            <a:p>
              <a:endParaRPr lang="da-DK"/>
            </a:p>
          </p:txBody>
        </p:sp>
        <p:sp>
          <p:nvSpPr>
            <p:cNvPr id="64" name="Freeform 1087">
              <a:extLst>
                <a:ext uri="{FF2B5EF4-FFF2-40B4-BE49-F238E27FC236}">
                  <a16:creationId xmlns:a16="http://schemas.microsoft.com/office/drawing/2014/main" id="{E7A4305C-18D1-966B-8877-7230CC8CA315}"/>
                </a:ext>
              </a:extLst>
            </p:cNvPr>
            <p:cNvSpPr>
              <a:spLocks/>
            </p:cNvSpPr>
            <p:nvPr>
              <p:custDataLst>
                <p:tags r:id="rId43"/>
              </p:custDataLst>
            </p:nvPr>
          </p:nvSpPr>
          <p:spPr bwMode="auto">
            <a:xfrm>
              <a:off x="5148303" y="3249117"/>
              <a:ext cx="32306" cy="44053"/>
            </a:xfrm>
            <a:custGeom>
              <a:avLst/>
              <a:gdLst>
                <a:gd name="T0" fmla="*/ 0 w 27"/>
                <a:gd name="T1" fmla="*/ 31389 h 44"/>
                <a:gd name="T2" fmla="*/ 0 w 27"/>
                <a:gd name="T3" fmla="*/ 16236 h 44"/>
                <a:gd name="T4" fmla="*/ 0 w 27"/>
                <a:gd name="T5" fmla="*/ 0 h 44"/>
                <a:gd name="T6" fmla="*/ 18109 w 27"/>
                <a:gd name="T7" fmla="*/ 16236 h 44"/>
                <a:gd name="T8" fmla="*/ 34925 w 27"/>
                <a:gd name="T9" fmla="*/ 16236 h 44"/>
                <a:gd name="T10" fmla="*/ 34925 w 27"/>
                <a:gd name="T11" fmla="*/ 31389 h 44"/>
                <a:gd name="T12" fmla="*/ 18109 w 27"/>
                <a:gd name="T13" fmla="*/ 31389 h 44"/>
                <a:gd name="T14" fmla="*/ 18109 w 27"/>
                <a:gd name="T15" fmla="*/ 47625 h 44"/>
                <a:gd name="T16" fmla="*/ 0 w 27"/>
                <a:gd name="T17" fmla="*/ 31389 h 44"/>
                <a:gd name="T18" fmla="*/ 0 w 27"/>
                <a:gd name="T19" fmla="*/ 3138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path>
              </a:pathLst>
            </a:custGeom>
            <a:grpFill/>
            <a:ln w="3175" cmpd="sng">
              <a:solidFill>
                <a:schemeClr val="bg1"/>
              </a:solidFill>
              <a:prstDash val="solid"/>
              <a:round/>
              <a:headEnd/>
              <a:tailEnd/>
            </a:ln>
          </p:spPr>
          <p:txBody>
            <a:bodyPr/>
            <a:lstStyle/>
            <a:p>
              <a:endParaRPr lang="da-DK"/>
            </a:p>
          </p:txBody>
        </p:sp>
        <p:sp>
          <p:nvSpPr>
            <p:cNvPr id="65" name="Freeform 1088">
              <a:extLst>
                <a:ext uri="{FF2B5EF4-FFF2-40B4-BE49-F238E27FC236}">
                  <a16:creationId xmlns:a16="http://schemas.microsoft.com/office/drawing/2014/main" id="{3B330AF8-329F-853B-B23C-5782C9B2F59D}"/>
                </a:ext>
              </a:extLst>
            </p:cNvPr>
            <p:cNvSpPr>
              <a:spLocks/>
            </p:cNvSpPr>
            <p:nvPr>
              <p:custDataLst>
                <p:tags r:id="rId44"/>
              </p:custDataLst>
            </p:nvPr>
          </p:nvSpPr>
          <p:spPr bwMode="auto">
            <a:xfrm>
              <a:off x="5086628" y="3849707"/>
              <a:ext cx="1208524" cy="531574"/>
            </a:xfrm>
            <a:custGeom>
              <a:avLst/>
              <a:gdLst>
                <a:gd name="T0" fmla="*/ 1254582 w 1107"/>
                <a:gd name="T1" fmla="*/ 416586 h 538"/>
                <a:gd name="T2" fmla="*/ 1286448 w 1107"/>
                <a:gd name="T3" fmla="*/ 383473 h 538"/>
                <a:gd name="T4" fmla="*/ 1306512 w 1107"/>
                <a:gd name="T5" fmla="*/ 343950 h 538"/>
                <a:gd name="T6" fmla="*/ 1259303 w 1107"/>
                <a:gd name="T7" fmla="*/ 321519 h 538"/>
                <a:gd name="T8" fmla="*/ 1208553 w 1107"/>
                <a:gd name="T9" fmla="*/ 290542 h 538"/>
                <a:gd name="T10" fmla="*/ 1157803 w 1107"/>
                <a:gd name="T11" fmla="*/ 240338 h 538"/>
                <a:gd name="T12" fmla="*/ 1071647 w 1107"/>
                <a:gd name="T13" fmla="*/ 290542 h 538"/>
                <a:gd name="T14" fmla="*/ 1055124 w 1107"/>
                <a:gd name="T15" fmla="*/ 253156 h 538"/>
                <a:gd name="T16" fmla="*/ 986670 w 1107"/>
                <a:gd name="T17" fmla="*/ 259565 h 538"/>
                <a:gd name="T18" fmla="*/ 967787 w 1107"/>
                <a:gd name="T19" fmla="*/ 259565 h 538"/>
                <a:gd name="T20" fmla="*/ 920578 w 1107"/>
                <a:gd name="T21" fmla="*/ 259565 h 538"/>
                <a:gd name="T22" fmla="*/ 850944 w 1107"/>
                <a:gd name="T23" fmla="*/ 259565 h 538"/>
                <a:gd name="T24" fmla="*/ 801375 w 1107"/>
                <a:gd name="T25" fmla="*/ 213634 h 538"/>
                <a:gd name="T26" fmla="*/ 714038 w 1107"/>
                <a:gd name="T27" fmla="*/ 182657 h 538"/>
                <a:gd name="T28" fmla="*/ 645585 w 1107"/>
                <a:gd name="T29" fmla="*/ 136726 h 538"/>
                <a:gd name="T30" fmla="*/ 611358 w 1107"/>
                <a:gd name="T31" fmla="*/ 151680 h 538"/>
                <a:gd name="T32" fmla="*/ 579492 w 1107"/>
                <a:gd name="T33" fmla="*/ 182657 h 538"/>
                <a:gd name="T34" fmla="*/ 509858 w 1107"/>
                <a:gd name="T35" fmla="*/ 136726 h 538"/>
                <a:gd name="T36" fmla="*/ 526382 w 1107"/>
                <a:gd name="T37" fmla="*/ 91863 h 538"/>
                <a:gd name="T38" fmla="*/ 441405 w 1107"/>
                <a:gd name="T39" fmla="*/ 76908 h 538"/>
                <a:gd name="T40" fmla="*/ 407179 w 1107"/>
                <a:gd name="T41" fmla="*/ 45931 h 538"/>
                <a:gd name="T42" fmla="*/ 391836 w 1107"/>
                <a:gd name="T43" fmla="*/ 0 h 538"/>
                <a:gd name="T44" fmla="*/ 341086 w 1107"/>
                <a:gd name="T45" fmla="*/ 29909 h 538"/>
                <a:gd name="T46" fmla="*/ 306859 w 1107"/>
                <a:gd name="T47" fmla="*/ 0 h 538"/>
                <a:gd name="T48" fmla="*/ 238406 w 1107"/>
                <a:gd name="T49" fmla="*/ 45931 h 538"/>
                <a:gd name="T50" fmla="*/ 151069 w 1107"/>
                <a:gd name="T51" fmla="*/ 91863 h 538"/>
                <a:gd name="T52" fmla="*/ 66093 w 1107"/>
                <a:gd name="T53" fmla="*/ 105749 h 538"/>
                <a:gd name="T54" fmla="*/ 15343 w 1107"/>
                <a:gd name="T55" fmla="*/ 91863 h 538"/>
                <a:gd name="T56" fmla="*/ 15343 w 1107"/>
                <a:gd name="T57" fmla="*/ 136726 h 538"/>
                <a:gd name="T58" fmla="*/ 50750 w 1107"/>
                <a:gd name="T59" fmla="*/ 182657 h 538"/>
                <a:gd name="T60" fmla="*/ 66093 w 1107"/>
                <a:gd name="T61" fmla="*/ 244611 h 538"/>
                <a:gd name="T62" fmla="*/ 119203 w 1107"/>
                <a:gd name="T63" fmla="*/ 321519 h 538"/>
                <a:gd name="T64" fmla="*/ 165232 w 1107"/>
                <a:gd name="T65" fmla="*/ 354632 h 538"/>
                <a:gd name="T66" fmla="*/ 204179 w 1107"/>
                <a:gd name="T67" fmla="*/ 398427 h 538"/>
                <a:gd name="T68" fmla="*/ 270272 w 1107"/>
                <a:gd name="T69" fmla="*/ 412313 h 538"/>
                <a:gd name="T70" fmla="*/ 322202 w 1107"/>
                <a:gd name="T71" fmla="*/ 381336 h 538"/>
                <a:gd name="T72" fmla="*/ 372952 w 1107"/>
                <a:gd name="T73" fmla="*/ 367450 h 538"/>
                <a:gd name="T74" fmla="*/ 426062 w 1107"/>
                <a:gd name="T75" fmla="*/ 381336 h 538"/>
                <a:gd name="T76" fmla="*/ 485074 w 1107"/>
                <a:gd name="T77" fmla="*/ 398427 h 538"/>
                <a:gd name="T78" fmla="*/ 526382 w 1107"/>
                <a:gd name="T79" fmla="*/ 429404 h 538"/>
                <a:gd name="T80" fmla="*/ 572410 w 1107"/>
                <a:gd name="T81" fmla="*/ 445427 h 538"/>
                <a:gd name="T82" fmla="*/ 562969 w 1107"/>
                <a:gd name="T83" fmla="*/ 491358 h 538"/>
                <a:gd name="T84" fmla="*/ 629061 w 1107"/>
                <a:gd name="T85" fmla="*/ 537289 h 538"/>
                <a:gd name="T86" fmla="*/ 679811 w 1107"/>
                <a:gd name="T87" fmla="*/ 566130 h 538"/>
                <a:gd name="T88" fmla="*/ 748264 w 1107"/>
                <a:gd name="T89" fmla="*/ 566130 h 538"/>
                <a:gd name="T90" fmla="*/ 796654 w 1107"/>
                <a:gd name="T91" fmla="*/ 555448 h 538"/>
                <a:gd name="T92" fmla="*/ 826159 w 1107"/>
                <a:gd name="T93" fmla="*/ 524471 h 538"/>
                <a:gd name="T94" fmla="*/ 885171 w 1107"/>
                <a:gd name="T95" fmla="*/ 522335 h 538"/>
                <a:gd name="T96" fmla="*/ 952444 w 1107"/>
                <a:gd name="T97" fmla="*/ 491358 h 538"/>
                <a:gd name="T98" fmla="*/ 1020897 w 1107"/>
                <a:gd name="T99" fmla="*/ 443290 h 538"/>
                <a:gd name="T100" fmla="*/ 1055124 w 1107"/>
                <a:gd name="T101" fmla="*/ 412313 h 538"/>
                <a:gd name="T102" fmla="*/ 1123577 w 1107"/>
                <a:gd name="T103" fmla="*/ 412313 h 538"/>
                <a:gd name="T104" fmla="*/ 1142460 w 1107"/>
                <a:gd name="T105" fmla="*/ 429404 h 538"/>
                <a:gd name="T106" fmla="*/ 1228617 w 1107"/>
                <a:gd name="T107" fmla="*/ 427268 h 5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path>
              </a:pathLst>
            </a:custGeom>
            <a:grpFill/>
            <a:ln w="3175" cmpd="sng">
              <a:solidFill>
                <a:schemeClr val="bg1"/>
              </a:solidFill>
              <a:prstDash val="solid"/>
              <a:round/>
              <a:headEnd/>
              <a:tailEnd/>
            </a:ln>
          </p:spPr>
          <p:txBody>
            <a:bodyPr/>
            <a:lstStyle/>
            <a:p>
              <a:endParaRPr lang="da-DK"/>
            </a:p>
          </p:txBody>
        </p:sp>
        <p:sp>
          <p:nvSpPr>
            <p:cNvPr id="66" name="Freeform 1089">
              <a:extLst>
                <a:ext uri="{FF2B5EF4-FFF2-40B4-BE49-F238E27FC236}">
                  <a16:creationId xmlns:a16="http://schemas.microsoft.com/office/drawing/2014/main" id="{8D4620BC-34DF-9FCC-9F8C-8D2DFB61E6E3}"/>
                </a:ext>
              </a:extLst>
            </p:cNvPr>
            <p:cNvSpPr>
              <a:spLocks/>
            </p:cNvSpPr>
            <p:nvPr>
              <p:custDataLst>
                <p:tags r:id="rId45"/>
              </p:custDataLst>
            </p:nvPr>
          </p:nvSpPr>
          <p:spPr bwMode="auto">
            <a:xfrm>
              <a:off x="5521286" y="4231501"/>
              <a:ext cx="794424" cy="449342"/>
            </a:xfrm>
            <a:custGeom>
              <a:avLst/>
              <a:gdLst>
                <a:gd name="T0" fmla="*/ 135296 w 730"/>
                <a:gd name="T1" fmla="*/ 107125 h 458"/>
                <a:gd name="T2" fmla="*/ 171767 w 730"/>
                <a:gd name="T3" fmla="*/ 121974 h 458"/>
                <a:gd name="T4" fmla="*/ 203533 w 730"/>
                <a:gd name="T5" fmla="*/ 150611 h 458"/>
                <a:gd name="T6" fmla="*/ 256475 w 730"/>
                <a:gd name="T7" fmla="*/ 150611 h 458"/>
                <a:gd name="T8" fmla="*/ 278828 w 730"/>
                <a:gd name="T9" fmla="*/ 150611 h 458"/>
                <a:gd name="T10" fmla="*/ 338829 w 730"/>
                <a:gd name="T11" fmla="*/ 137884 h 458"/>
                <a:gd name="T12" fmla="*/ 338829 w 730"/>
                <a:gd name="T13" fmla="*/ 119853 h 458"/>
                <a:gd name="T14" fmla="*/ 365888 w 730"/>
                <a:gd name="T15" fmla="*/ 102882 h 458"/>
                <a:gd name="T16" fmla="*/ 407065 w 730"/>
                <a:gd name="T17" fmla="*/ 107125 h 458"/>
                <a:gd name="T18" fmla="*/ 458831 w 730"/>
                <a:gd name="T19" fmla="*/ 91215 h 458"/>
                <a:gd name="T20" fmla="*/ 509420 w 730"/>
                <a:gd name="T21" fmla="*/ 62578 h 458"/>
                <a:gd name="T22" fmla="*/ 543538 w 730"/>
                <a:gd name="T23" fmla="*/ 30759 h 458"/>
                <a:gd name="T24" fmla="*/ 562362 w 730"/>
                <a:gd name="T25" fmla="*/ 0 h 458"/>
                <a:gd name="T26" fmla="*/ 596480 w 730"/>
                <a:gd name="T27" fmla="*/ 0 h 458"/>
                <a:gd name="T28" fmla="*/ 645892 w 730"/>
                <a:gd name="T29" fmla="*/ 0 h 458"/>
                <a:gd name="T30" fmla="*/ 677658 w 730"/>
                <a:gd name="T31" fmla="*/ 0 h 458"/>
                <a:gd name="T32" fmla="*/ 696482 w 730"/>
                <a:gd name="T33" fmla="*/ 14849 h 458"/>
                <a:gd name="T34" fmla="*/ 747071 w 730"/>
                <a:gd name="T35" fmla="*/ 14849 h 458"/>
                <a:gd name="T36" fmla="*/ 788248 w 730"/>
                <a:gd name="T37" fmla="*/ 45608 h 458"/>
                <a:gd name="T38" fmla="*/ 820013 w 730"/>
                <a:gd name="T39" fmla="*/ 45608 h 458"/>
                <a:gd name="T40" fmla="*/ 858837 w 730"/>
                <a:gd name="T41" fmla="*/ 72124 h 458"/>
                <a:gd name="T42" fmla="*/ 854131 w 730"/>
                <a:gd name="T43" fmla="*/ 115610 h 458"/>
                <a:gd name="T44" fmla="*/ 803542 w 730"/>
                <a:gd name="T45" fmla="*/ 150611 h 458"/>
                <a:gd name="T46" fmla="*/ 769424 w 730"/>
                <a:gd name="T47" fmla="*/ 165460 h 458"/>
                <a:gd name="T48" fmla="*/ 751776 w 730"/>
                <a:gd name="T49" fmla="*/ 216371 h 458"/>
                <a:gd name="T50" fmla="*/ 735306 w 730"/>
                <a:gd name="T51" fmla="*/ 247130 h 458"/>
                <a:gd name="T52" fmla="*/ 705893 w 730"/>
                <a:gd name="T53" fmla="*/ 304405 h 458"/>
                <a:gd name="T54" fmla="*/ 671775 w 730"/>
                <a:gd name="T55" fmla="*/ 325618 h 458"/>
                <a:gd name="T56" fmla="*/ 643540 w 730"/>
                <a:gd name="T57" fmla="*/ 360619 h 458"/>
                <a:gd name="T58" fmla="*/ 618833 w 730"/>
                <a:gd name="T59" fmla="*/ 385014 h 458"/>
                <a:gd name="T60" fmla="*/ 601186 w 730"/>
                <a:gd name="T61" fmla="*/ 411530 h 458"/>
                <a:gd name="T62" fmla="*/ 525891 w 730"/>
                <a:gd name="T63" fmla="*/ 395620 h 458"/>
                <a:gd name="T64" fmla="*/ 509420 w 730"/>
                <a:gd name="T65" fmla="*/ 409409 h 458"/>
                <a:gd name="T66" fmla="*/ 458831 w 730"/>
                <a:gd name="T67" fmla="*/ 426379 h 458"/>
                <a:gd name="T68" fmla="*/ 407065 w 730"/>
                <a:gd name="T69" fmla="*/ 426379 h 458"/>
                <a:gd name="T70" fmla="*/ 356476 w 730"/>
                <a:gd name="T71" fmla="*/ 440167 h 458"/>
                <a:gd name="T72" fmla="*/ 324711 w 730"/>
                <a:gd name="T73" fmla="*/ 457138 h 458"/>
                <a:gd name="T74" fmla="*/ 290593 w 730"/>
                <a:gd name="T75" fmla="*/ 485775 h 458"/>
                <a:gd name="T76" fmla="*/ 237651 w 730"/>
                <a:gd name="T77" fmla="*/ 471987 h 458"/>
                <a:gd name="T78" fmla="*/ 203533 w 730"/>
                <a:gd name="T79" fmla="*/ 471987 h 458"/>
                <a:gd name="T80" fmla="*/ 171767 w 730"/>
                <a:gd name="T81" fmla="*/ 457138 h 458"/>
                <a:gd name="T82" fmla="*/ 152944 w 730"/>
                <a:gd name="T83" fmla="*/ 440167 h 458"/>
                <a:gd name="T84" fmla="*/ 118825 w 730"/>
                <a:gd name="T85" fmla="*/ 426379 h 458"/>
                <a:gd name="T86" fmla="*/ 84707 w 730"/>
                <a:gd name="T87" fmla="*/ 395620 h 458"/>
                <a:gd name="T88" fmla="*/ 69413 w 730"/>
                <a:gd name="T89" fmla="*/ 364862 h 458"/>
                <a:gd name="T90" fmla="*/ 50589 w 730"/>
                <a:gd name="T91" fmla="*/ 336224 h 458"/>
                <a:gd name="T92" fmla="*/ 35295 w 730"/>
                <a:gd name="T93" fmla="*/ 304405 h 458"/>
                <a:gd name="T94" fmla="*/ 0 w 730"/>
                <a:gd name="T95" fmla="*/ 319254 h 458"/>
                <a:gd name="T96" fmla="*/ 16471 w 730"/>
                <a:gd name="T97" fmla="*/ 273646 h 458"/>
                <a:gd name="T98" fmla="*/ 50589 w 730"/>
                <a:gd name="T99" fmla="*/ 242888 h 458"/>
                <a:gd name="T100" fmla="*/ 69413 w 730"/>
                <a:gd name="T101" fmla="*/ 212129 h 458"/>
                <a:gd name="T102" fmla="*/ 69413 w 730"/>
                <a:gd name="T103" fmla="*/ 183491 h 458"/>
                <a:gd name="T104" fmla="*/ 50589 w 730"/>
                <a:gd name="T105" fmla="*/ 150611 h 458"/>
                <a:gd name="T106" fmla="*/ 89413 w 730"/>
                <a:gd name="T107" fmla="*/ 142126 h 458"/>
                <a:gd name="T108" fmla="*/ 103531 w 730"/>
                <a:gd name="T109" fmla="*/ 161218 h 458"/>
                <a:gd name="T110" fmla="*/ 118825 w 730"/>
                <a:gd name="T111" fmla="*/ 135762 h 458"/>
                <a:gd name="T112" fmla="*/ 98825 w 730"/>
                <a:gd name="T113" fmla="*/ 82730 h 4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close/>
                </a:path>
              </a:pathLst>
            </a:custGeom>
            <a:grpFill/>
            <a:ln w="3175" cmpd="sng">
              <a:solidFill>
                <a:schemeClr val="bg1"/>
              </a:solidFill>
              <a:round/>
              <a:headEnd/>
              <a:tailEnd/>
            </a:ln>
          </p:spPr>
          <p:txBody>
            <a:bodyPr/>
            <a:lstStyle/>
            <a:p>
              <a:endParaRPr lang="da-DK"/>
            </a:p>
          </p:txBody>
        </p:sp>
        <p:sp>
          <p:nvSpPr>
            <p:cNvPr id="67" name="Freeform 1091">
              <a:extLst>
                <a:ext uri="{FF2B5EF4-FFF2-40B4-BE49-F238E27FC236}">
                  <a16:creationId xmlns:a16="http://schemas.microsoft.com/office/drawing/2014/main" id="{79B33E1A-33CF-D2B2-2DE0-812F80FE9B8F}"/>
                </a:ext>
              </a:extLst>
            </p:cNvPr>
            <p:cNvSpPr>
              <a:spLocks/>
            </p:cNvSpPr>
            <p:nvPr>
              <p:custDataLst>
                <p:tags r:id="rId46"/>
              </p:custDataLst>
            </p:nvPr>
          </p:nvSpPr>
          <p:spPr bwMode="auto">
            <a:xfrm>
              <a:off x="6402349" y="5679380"/>
              <a:ext cx="220266" cy="139502"/>
            </a:xfrm>
            <a:custGeom>
              <a:avLst/>
              <a:gdLst>
                <a:gd name="T0" fmla="*/ 0 w 202"/>
                <a:gd name="T1" fmla="*/ 12745 h 142"/>
                <a:gd name="T2" fmla="*/ 34186 w 202"/>
                <a:gd name="T3" fmla="*/ 0 h 142"/>
                <a:gd name="T4" fmla="*/ 53048 w 202"/>
                <a:gd name="T5" fmla="*/ 0 h 142"/>
                <a:gd name="T6" fmla="*/ 68373 w 202"/>
                <a:gd name="T7" fmla="*/ 12745 h 142"/>
                <a:gd name="T8" fmla="*/ 84876 w 202"/>
                <a:gd name="T9" fmla="*/ 28676 h 142"/>
                <a:gd name="T10" fmla="*/ 119062 w 202"/>
                <a:gd name="T11" fmla="*/ 28676 h 142"/>
                <a:gd name="T12" fmla="*/ 153249 w 202"/>
                <a:gd name="T13" fmla="*/ 43545 h 142"/>
                <a:gd name="T14" fmla="*/ 169752 w 202"/>
                <a:gd name="T15" fmla="*/ 60538 h 142"/>
                <a:gd name="T16" fmla="*/ 185077 w 202"/>
                <a:gd name="T17" fmla="*/ 60538 h 142"/>
                <a:gd name="T18" fmla="*/ 203939 w 202"/>
                <a:gd name="T19" fmla="*/ 74344 h 142"/>
                <a:gd name="T20" fmla="*/ 203939 w 202"/>
                <a:gd name="T21" fmla="*/ 89213 h 142"/>
                <a:gd name="T22" fmla="*/ 221621 w 202"/>
                <a:gd name="T23" fmla="*/ 103020 h 142"/>
                <a:gd name="T24" fmla="*/ 238125 w 202"/>
                <a:gd name="T25" fmla="*/ 120013 h 142"/>
                <a:gd name="T26" fmla="*/ 238125 w 202"/>
                <a:gd name="T27" fmla="*/ 150813 h 142"/>
                <a:gd name="T28" fmla="*/ 221621 w 202"/>
                <a:gd name="T29" fmla="*/ 150813 h 142"/>
                <a:gd name="T30" fmla="*/ 203939 w 202"/>
                <a:gd name="T31" fmla="*/ 120013 h 142"/>
                <a:gd name="T32" fmla="*/ 185077 w 202"/>
                <a:gd name="T33" fmla="*/ 103020 h 142"/>
                <a:gd name="T34" fmla="*/ 169752 w 202"/>
                <a:gd name="T35" fmla="*/ 89213 h 142"/>
                <a:gd name="T36" fmla="*/ 135566 w 202"/>
                <a:gd name="T37" fmla="*/ 74344 h 142"/>
                <a:gd name="T38" fmla="*/ 119062 w 202"/>
                <a:gd name="T39" fmla="*/ 60538 h 142"/>
                <a:gd name="T40" fmla="*/ 84876 w 202"/>
                <a:gd name="T41" fmla="*/ 43545 h 142"/>
                <a:gd name="T42" fmla="*/ 68373 w 202"/>
                <a:gd name="T43" fmla="*/ 28676 h 142"/>
                <a:gd name="T44" fmla="*/ 34186 w 202"/>
                <a:gd name="T45" fmla="*/ 28676 h 142"/>
                <a:gd name="T46" fmla="*/ 16504 w 202"/>
                <a:gd name="T47" fmla="*/ 28676 h 142"/>
                <a:gd name="T48" fmla="*/ 0 w 202"/>
                <a:gd name="T49" fmla="*/ 12745 h 142"/>
                <a:gd name="T50" fmla="*/ 0 w 202"/>
                <a:gd name="T51" fmla="*/ 12745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close/>
                </a:path>
              </a:pathLst>
            </a:custGeom>
            <a:grpFill/>
            <a:ln w="3175" cmpd="sng">
              <a:solidFill>
                <a:schemeClr val="bg1"/>
              </a:solidFill>
              <a:round/>
              <a:headEnd/>
              <a:tailEnd/>
            </a:ln>
          </p:spPr>
          <p:txBody>
            <a:bodyPr/>
            <a:lstStyle/>
            <a:p>
              <a:endParaRPr lang="da-DK"/>
            </a:p>
          </p:txBody>
        </p:sp>
        <p:sp>
          <p:nvSpPr>
            <p:cNvPr id="68" name="Freeform 1093">
              <a:extLst>
                <a:ext uri="{FF2B5EF4-FFF2-40B4-BE49-F238E27FC236}">
                  <a16:creationId xmlns:a16="http://schemas.microsoft.com/office/drawing/2014/main" id="{7B29D7CA-AB9A-CFA7-11B8-8FF9E299DB4C}"/>
                </a:ext>
              </a:extLst>
            </p:cNvPr>
            <p:cNvSpPr>
              <a:spLocks/>
            </p:cNvSpPr>
            <p:nvPr>
              <p:custDataLst>
                <p:tags r:id="rId47"/>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17529 w 72"/>
                <a:gd name="T35" fmla="*/ 92075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close/>
                </a:path>
              </a:pathLst>
            </a:custGeom>
            <a:grpFill/>
            <a:ln w="3175" cmpd="sng">
              <a:solidFill>
                <a:schemeClr val="bg1"/>
              </a:solidFill>
              <a:round/>
              <a:headEnd/>
              <a:tailEnd/>
            </a:ln>
          </p:spPr>
          <p:txBody>
            <a:bodyPr/>
            <a:lstStyle/>
            <a:p>
              <a:endParaRPr lang="da-DK"/>
            </a:p>
          </p:txBody>
        </p:sp>
        <p:sp>
          <p:nvSpPr>
            <p:cNvPr id="69" name="Freeform 1094">
              <a:extLst>
                <a:ext uri="{FF2B5EF4-FFF2-40B4-BE49-F238E27FC236}">
                  <a16:creationId xmlns:a16="http://schemas.microsoft.com/office/drawing/2014/main" id="{C84A58E1-78F3-5A4A-1F24-C2F9F92D5D2E}"/>
                </a:ext>
              </a:extLst>
            </p:cNvPr>
            <p:cNvSpPr>
              <a:spLocks/>
            </p:cNvSpPr>
            <p:nvPr>
              <p:custDataLst>
                <p:tags r:id="rId48"/>
              </p:custDataLst>
            </p:nvPr>
          </p:nvSpPr>
          <p:spPr bwMode="auto">
            <a:xfrm>
              <a:off x="5782668" y="1077297"/>
              <a:ext cx="77827" cy="85169"/>
            </a:xfrm>
            <a:custGeom>
              <a:avLst/>
              <a:gdLst>
                <a:gd name="T0" fmla="*/ 17529 w 72"/>
                <a:gd name="T1" fmla="*/ 92075 h 85"/>
                <a:gd name="T2" fmla="*/ 33889 w 72"/>
                <a:gd name="T3" fmla="*/ 76910 h 85"/>
                <a:gd name="T4" fmla="*/ 33889 w 72"/>
                <a:gd name="T5" fmla="*/ 60661 h 85"/>
                <a:gd name="T6" fmla="*/ 52586 w 72"/>
                <a:gd name="T7" fmla="*/ 60661 h 85"/>
                <a:gd name="T8" fmla="*/ 67777 w 72"/>
                <a:gd name="T9" fmla="*/ 60661 h 85"/>
                <a:gd name="T10" fmla="*/ 84137 w 72"/>
                <a:gd name="T11" fmla="*/ 16249 h 85"/>
                <a:gd name="T12" fmla="*/ 67777 w 72"/>
                <a:gd name="T13" fmla="*/ 0 h 85"/>
                <a:gd name="T14" fmla="*/ 52586 w 72"/>
                <a:gd name="T15" fmla="*/ 0 h 85"/>
                <a:gd name="T16" fmla="*/ 52586 w 72"/>
                <a:gd name="T17" fmla="*/ 16249 h 85"/>
                <a:gd name="T18" fmla="*/ 33889 w 72"/>
                <a:gd name="T19" fmla="*/ 16249 h 85"/>
                <a:gd name="T20" fmla="*/ 17529 w 72"/>
                <a:gd name="T21" fmla="*/ 16249 h 85"/>
                <a:gd name="T22" fmla="*/ 17529 w 72"/>
                <a:gd name="T23" fmla="*/ 31414 h 85"/>
                <a:gd name="T24" fmla="*/ 17529 w 72"/>
                <a:gd name="T25" fmla="*/ 45496 h 85"/>
                <a:gd name="T26" fmla="*/ 0 w 72"/>
                <a:gd name="T27" fmla="*/ 60661 h 85"/>
                <a:gd name="T28" fmla="*/ 17529 w 72"/>
                <a:gd name="T29" fmla="*/ 76910 h 85"/>
                <a:gd name="T30" fmla="*/ 17529 w 72"/>
                <a:gd name="T31" fmla="*/ 92075 h 85"/>
                <a:gd name="T32" fmla="*/ 17529 w 72"/>
                <a:gd name="T33" fmla="*/ 92075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 h="85">
                  <a:moveTo>
                    <a:pt x="15" y="85"/>
                  </a:moveTo>
                  <a:lnTo>
                    <a:pt x="29" y="71"/>
                  </a:lnTo>
                  <a:lnTo>
                    <a:pt x="29" y="56"/>
                  </a:lnTo>
                  <a:lnTo>
                    <a:pt x="45" y="56"/>
                  </a:lnTo>
                  <a:lnTo>
                    <a:pt x="58" y="56"/>
                  </a:lnTo>
                  <a:lnTo>
                    <a:pt x="72" y="15"/>
                  </a:lnTo>
                  <a:lnTo>
                    <a:pt x="58" y="0"/>
                  </a:lnTo>
                  <a:lnTo>
                    <a:pt x="45" y="0"/>
                  </a:lnTo>
                  <a:lnTo>
                    <a:pt x="45" y="15"/>
                  </a:lnTo>
                  <a:lnTo>
                    <a:pt x="29" y="15"/>
                  </a:lnTo>
                  <a:lnTo>
                    <a:pt x="15" y="15"/>
                  </a:lnTo>
                  <a:lnTo>
                    <a:pt x="15" y="29"/>
                  </a:lnTo>
                  <a:lnTo>
                    <a:pt x="15" y="42"/>
                  </a:lnTo>
                  <a:lnTo>
                    <a:pt x="0" y="56"/>
                  </a:lnTo>
                  <a:lnTo>
                    <a:pt x="15" y="71"/>
                  </a:lnTo>
                  <a:lnTo>
                    <a:pt x="15" y="85"/>
                  </a:lnTo>
                </a:path>
              </a:pathLst>
            </a:custGeom>
            <a:grpFill/>
            <a:ln w="3175" cmpd="sng">
              <a:solidFill>
                <a:schemeClr val="bg1"/>
              </a:solidFill>
              <a:prstDash val="solid"/>
              <a:round/>
              <a:headEnd/>
              <a:tailEnd/>
            </a:ln>
          </p:spPr>
          <p:txBody>
            <a:bodyPr/>
            <a:lstStyle/>
            <a:p>
              <a:endParaRPr lang="da-DK"/>
            </a:p>
          </p:txBody>
        </p:sp>
        <p:sp>
          <p:nvSpPr>
            <p:cNvPr id="70" name="Freeform 1096">
              <a:extLst>
                <a:ext uri="{FF2B5EF4-FFF2-40B4-BE49-F238E27FC236}">
                  <a16:creationId xmlns:a16="http://schemas.microsoft.com/office/drawing/2014/main" id="{75BF8C7E-6862-EBB6-E672-15F6F50711F9}"/>
                </a:ext>
              </a:extLst>
            </p:cNvPr>
            <p:cNvSpPr>
              <a:spLocks/>
            </p:cNvSpPr>
            <p:nvPr>
              <p:custDataLst>
                <p:tags r:id="rId49"/>
              </p:custDataLst>
            </p:nvPr>
          </p:nvSpPr>
          <p:spPr bwMode="auto">
            <a:xfrm>
              <a:off x="5199697" y="1162466"/>
              <a:ext cx="1086644" cy="2036723"/>
            </a:xfrm>
            <a:custGeom>
              <a:avLst/>
              <a:gdLst>
                <a:gd name="T0" fmla="*/ 1139330 w 995"/>
                <a:gd name="T1" fmla="*/ 400145 h 2069"/>
                <a:gd name="T2" fmla="*/ 1139330 w 995"/>
                <a:gd name="T3" fmla="*/ 290531 h 2069"/>
                <a:gd name="T4" fmla="*/ 1087382 w 995"/>
                <a:gd name="T5" fmla="*/ 228806 h 2069"/>
                <a:gd name="T6" fmla="*/ 1105091 w 995"/>
                <a:gd name="T7" fmla="*/ 153247 h 2069"/>
                <a:gd name="T8" fmla="*/ 1004736 w 995"/>
                <a:gd name="T9" fmla="*/ 76624 h 2069"/>
                <a:gd name="T10" fmla="*/ 919729 w 995"/>
                <a:gd name="T11" fmla="*/ 17027 h 2069"/>
                <a:gd name="T12" fmla="*/ 851251 w 995"/>
                <a:gd name="T13" fmla="*/ 61725 h 2069"/>
                <a:gd name="T14" fmla="*/ 763883 w 995"/>
                <a:gd name="T15" fmla="*/ 92587 h 2069"/>
                <a:gd name="T16" fmla="*/ 682418 w 995"/>
                <a:gd name="T17" fmla="*/ 138348 h 2069"/>
                <a:gd name="T18" fmla="*/ 578520 w 995"/>
                <a:gd name="T19" fmla="*/ 228806 h 2069"/>
                <a:gd name="T20" fmla="*/ 578520 w 995"/>
                <a:gd name="T21" fmla="*/ 322457 h 2069"/>
                <a:gd name="T22" fmla="*/ 492332 w 995"/>
                <a:gd name="T23" fmla="*/ 428879 h 2069"/>
                <a:gd name="T24" fmla="*/ 388435 w 995"/>
                <a:gd name="T25" fmla="*/ 534236 h 2069"/>
                <a:gd name="T26" fmla="*/ 373086 w 995"/>
                <a:gd name="T27" fmla="*/ 658750 h 2069"/>
                <a:gd name="T28" fmla="*/ 341209 w 995"/>
                <a:gd name="T29" fmla="*/ 749208 h 2069"/>
                <a:gd name="T30" fmla="*/ 271550 w 995"/>
                <a:gd name="T31" fmla="*/ 810933 h 2069"/>
                <a:gd name="T32" fmla="*/ 187724 w 995"/>
                <a:gd name="T33" fmla="*/ 841795 h 2069"/>
                <a:gd name="T34" fmla="*/ 153485 w 995"/>
                <a:gd name="T35" fmla="*/ 978015 h 2069"/>
                <a:gd name="T36" fmla="*/ 168833 w 995"/>
                <a:gd name="T37" fmla="*/ 1085500 h 2069"/>
                <a:gd name="T38" fmla="*/ 187724 w 995"/>
                <a:gd name="T39" fmla="*/ 1175959 h 2069"/>
                <a:gd name="T40" fmla="*/ 134594 w 995"/>
                <a:gd name="T41" fmla="*/ 1285573 h 2069"/>
                <a:gd name="T42" fmla="*/ 134594 w 995"/>
                <a:gd name="T43" fmla="*/ 1436692 h 2069"/>
                <a:gd name="T44" fmla="*/ 66117 w 995"/>
                <a:gd name="T45" fmla="*/ 1483517 h 2069"/>
                <a:gd name="T46" fmla="*/ 49587 w 995"/>
                <a:gd name="T47" fmla="*/ 1575040 h 2069"/>
                <a:gd name="T48" fmla="*/ 0 w 995"/>
                <a:gd name="T49" fmla="*/ 1560141 h 2069"/>
                <a:gd name="T50" fmla="*/ 0 w 995"/>
                <a:gd name="T51" fmla="*/ 1665498 h 2069"/>
                <a:gd name="T52" fmla="*/ 31878 w 995"/>
                <a:gd name="T53" fmla="*/ 1713388 h 2069"/>
                <a:gd name="T54" fmla="*/ 31878 w 995"/>
                <a:gd name="T55" fmla="*/ 1803846 h 2069"/>
                <a:gd name="T56" fmla="*/ 31878 w 995"/>
                <a:gd name="T57" fmla="*/ 1911332 h 2069"/>
                <a:gd name="T58" fmla="*/ 100356 w 995"/>
                <a:gd name="T59" fmla="*/ 2001790 h 2069"/>
                <a:gd name="T60" fmla="*/ 68478 w 995"/>
                <a:gd name="T61" fmla="*/ 2063515 h 2069"/>
                <a:gd name="T62" fmla="*/ 100356 w 995"/>
                <a:gd name="T63" fmla="*/ 2140138 h 2069"/>
                <a:gd name="T64" fmla="*/ 134594 w 995"/>
                <a:gd name="T65" fmla="*/ 2201863 h 2069"/>
                <a:gd name="T66" fmla="*/ 237311 w 995"/>
                <a:gd name="T67" fmla="*/ 2185900 h 2069"/>
                <a:gd name="T68" fmla="*/ 288079 w 995"/>
                <a:gd name="T69" fmla="*/ 2109276 h 2069"/>
                <a:gd name="T70" fmla="*/ 375448 w 995"/>
                <a:gd name="T71" fmla="*/ 2078414 h 2069"/>
                <a:gd name="T72" fmla="*/ 441564 w 995"/>
                <a:gd name="T73" fmla="*/ 2063515 h 2069"/>
                <a:gd name="T74" fmla="*/ 510042 w 995"/>
                <a:gd name="T75" fmla="*/ 1942194 h 2069"/>
                <a:gd name="T76" fmla="*/ 510042 w 995"/>
                <a:gd name="T77" fmla="*/ 1865571 h 2069"/>
                <a:gd name="T78" fmla="*/ 544281 w 995"/>
                <a:gd name="T79" fmla="*/ 1772984 h 2069"/>
                <a:gd name="T80" fmla="*/ 510042 w 995"/>
                <a:gd name="T81" fmla="*/ 1682526 h 2069"/>
                <a:gd name="T82" fmla="*/ 612759 w 995"/>
                <a:gd name="T83" fmla="*/ 1636764 h 2069"/>
                <a:gd name="T84" fmla="*/ 682418 w 995"/>
                <a:gd name="T85" fmla="*/ 1605902 h 2069"/>
                <a:gd name="T86" fmla="*/ 714295 w 995"/>
                <a:gd name="T87" fmla="*/ 1529278 h 2069"/>
                <a:gd name="T88" fmla="*/ 714295 w 995"/>
                <a:gd name="T89" fmla="*/ 1452655 h 2069"/>
                <a:gd name="T90" fmla="*/ 682418 w 995"/>
                <a:gd name="T91" fmla="*/ 1377096 h 2069"/>
                <a:gd name="T92" fmla="*/ 612759 w 995"/>
                <a:gd name="T93" fmla="*/ 1314307 h 2069"/>
                <a:gd name="T94" fmla="*/ 612759 w 995"/>
                <a:gd name="T95" fmla="*/ 1254711 h 2069"/>
                <a:gd name="T96" fmla="*/ 612759 w 995"/>
                <a:gd name="T97" fmla="*/ 1162124 h 2069"/>
                <a:gd name="T98" fmla="*/ 595049 w 995"/>
                <a:gd name="T99" fmla="*/ 1071666 h 2069"/>
                <a:gd name="T100" fmla="*/ 682418 w 995"/>
                <a:gd name="T101" fmla="*/ 1023776 h 2069"/>
                <a:gd name="T102" fmla="*/ 766244 w 995"/>
                <a:gd name="T103" fmla="*/ 947152 h 2069"/>
                <a:gd name="T104" fmla="*/ 851251 w 995"/>
                <a:gd name="T105" fmla="*/ 902455 h 2069"/>
                <a:gd name="T106" fmla="*/ 902019 w 995"/>
                <a:gd name="T107" fmla="*/ 825832 h 2069"/>
                <a:gd name="T108" fmla="*/ 953968 w 995"/>
                <a:gd name="T109" fmla="*/ 734309 h 2069"/>
                <a:gd name="T110" fmla="*/ 953968 w 995"/>
                <a:gd name="T111" fmla="*/ 627887 h 2069"/>
                <a:gd name="T112" fmla="*/ 1023626 w 995"/>
                <a:gd name="T113" fmla="*/ 565099 h 2069"/>
                <a:gd name="T114" fmla="*/ 1055504 w 995"/>
                <a:gd name="T115" fmla="*/ 505503 h 2069"/>
                <a:gd name="T116" fmla="*/ 1155860 w 995"/>
                <a:gd name="T117" fmla="*/ 505503 h 20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path>
              </a:pathLst>
            </a:custGeom>
            <a:grpFill/>
            <a:ln w="3175" cmpd="sng">
              <a:solidFill>
                <a:schemeClr val="bg1"/>
              </a:solidFill>
              <a:prstDash val="solid"/>
              <a:round/>
              <a:headEnd/>
              <a:tailEnd/>
            </a:ln>
          </p:spPr>
          <p:txBody>
            <a:bodyPr/>
            <a:lstStyle/>
            <a:p>
              <a:endParaRPr lang="da-DK"/>
            </a:p>
          </p:txBody>
        </p:sp>
        <p:sp>
          <p:nvSpPr>
            <p:cNvPr id="71" name="Freeform 1097">
              <a:extLst>
                <a:ext uri="{FF2B5EF4-FFF2-40B4-BE49-F238E27FC236}">
                  <a16:creationId xmlns:a16="http://schemas.microsoft.com/office/drawing/2014/main" id="{FF1A0A2D-274C-D7C7-6FE2-077FDAB55EC0}"/>
                </a:ext>
              </a:extLst>
            </p:cNvPr>
            <p:cNvSpPr>
              <a:spLocks/>
            </p:cNvSpPr>
            <p:nvPr>
              <p:custDataLst>
                <p:tags r:id="rId50"/>
              </p:custDataLst>
            </p:nvPr>
          </p:nvSpPr>
          <p:spPr bwMode="auto">
            <a:xfrm>
              <a:off x="6022022" y="965695"/>
              <a:ext cx="923648" cy="1538923"/>
            </a:xfrm>
            <a:custGeom>
              <a:avLst/>
              <a:gdLst>
                <a:gd name="T0" fmla="*/ 541461 w 852"/>
                <a:gd name="T1" fmla="*/ 153082 h 1565"/>
                <a:gd name="T2" fmla="*/ 556697 w 852"/>
                <a:gd name="T3" fmla="*/ 76541 h 1565"/>
                <a:gd name="T4" fmla="*/ 457077 w 852"/>
                <a:gd name="T5" fmla="*/ 30829 h 1565"/>
                <a:gd name="T6" fmla="*/ 404338 w 852"/>
                <a:gd name="T7" fmla="*/ 30829 h 1565"/>
                <a:gd name="T8" fmla="*/ 336362 w 852"/>
                <a:gd name="T9" fmla="*/ 138199 h 1565"/>
                <a:gd name="T10" fmla="*/ 321126 w 852"/>
                <a:gd name="T11" fmla="*/ 197730 h 1565"/>
                <a:gd name="T12" fmla="*/ 254322 w 852"/>
                <a:gd name="T13" fmla="*/ 258325 h 1565"/>
                <a:gd name="T14" fmla="*/ 152359 w 852"/>
                <a:gd name="T15" fmla="*/ 243442 h 1565"/>
                <a:gd name="T16" fmla="*/ 84383 w 852"/>
                <a:gd name="T17" fmla="*/ 197730 h 1565"/>
                <a:gd name="T18" fmla="*/ 16408 w 852"/>
                <a:gd name="T19" fmla="*/ 153082 h 1565"/>
                <a:gd name="T20" fmla="*/ 67976 w 852"/>
                <a:gd name="T21" fmla="*/ 243442 h 1565"/>
                <a:gd name="T22" fmla="*/ 118371 w 852"/>
                <a:gd name="T23" fmla="*/ 289154 h 1565"/>
                <a:gd name="T24" fmla="*/ 202755 w 852"/>
                <a:gd name="T25" fmla="*/ 350812 h 1565"/>
                <a:gd name="T26" fmla="*/ 217991 w 852"/>
                <a:gd name="T27" fmla="*/ 412470 h 1565"/>
                <a:gd name="T28" fmla="*/ 236743 w 852"/>
                <a:gd name="T29" fmla="*/ 458182 h 1565"/>
                <a:gd name="T30" fmla="*/ 254322 w 852"/>
                <a:gd name="T31" fmla="*/ 517714 h 1565"/>
                <a:gd name="T32" fmla="*/ 254322 w 852"/>
                <a:gd name="T33" fmla="*/ 612327 h 1565"/>
                <a:gd name="T34" fmla="*/ 287138 w 852"/>
                <a:gd name="T35" fmla="*/ 701624 h 1565"/>
                <a:gd name="T36" fmla="*/ 355114 w 852"/>
                <a:gd name="T37" fmla="*/ 732453 h 1565"/>
                <a:gd name="T38" fmla="*/ 370350 w 852"/>
                <a:gd name="T39" fmla="*/ 807931 h 1565"/>
                <a:gd name="T40" fmla="*/ 370350 w 852"/>
                <a:gd name="T41" fmla="*/ 855769 h 1565"/>
                <a:gd name="T42" fmla="*/ 302374 w 852"/>
                <a:gd name="T43" fmla="*/ 915301 h 1565"/>
                <a:gd name="T44" fmla="*/ 236743 w 852"/>
                <a:gd name="T45" fmla="*/ 1008851 h 1565"/>
                <a:gd name="T46" fmla="*/ 202755 w 852"/>
                <a:gd name="T47" fmla="*/ 1068382 h 1565"/>
                <a:gd name="T48" fmla="*/ 168767 w 852"/>
                <a:gd name="T49" fmla="*/ 1099211 h 1565"/>
                <a:gd name="T50" fmla="*/ 101963 w 852"/>
                <a:gd name="T51" fmla="*/ 1127914 h 1565"/>
                <a:gd name="T52" fmla="*/ 67976 w 852"/>
                <a:gd name="T53" fmla="*/ 1235284 h 1565"/>
                <a:gd name="T54" fmla="*/ 67976 w 852"/>
                <a:gd name="T55" fmla="*/ 1313951 h 1565"/>
                <a:gd name="T56" fmla="*/ 101963 w 852"/>
                <a:gd name="T57" fmla="*/ 1419195 h 1565"/>
                <a:gd name="T58" fmla="*/ 67976 w 852"/>
                <a:gd name="T59" fmla="*/ 1511681 h 1565"/>
                <a:gd name="T60" fmla="*/ 202755 w 852"/>
                <a:gd name="T61" fmla="*/ 1573339 h 1565"/>
                <a:gd name="T62" fmla="*/ 254322 w 852"/>
                <a:gd name="T63" fmla="*/ 1647754 h 1565"/>
                <a:gd name="T64" fmla="*/ 355114 w 852"/>
                <a:gd name="T65" fmla="*/ 1632871 h 1565"/>
                <a:gd name="T66" fmla="*/ 423089 w 852"/>
                <a:gd name="T67" fmla="*/ 1616925 h 1565"/>
                <a:gd name="T68" fmla="*/ 541461 w 852"/>
                <a:gd name="T69" fmla="*/ 1588222 h 1565"/>
                <a:gd name="T70" fmla="*/ 575449 w 852"/>
                <a:gd name="T71" fmla="*/ 1573339 h 1565"/>
                <a:gd name="T72" fmla="*/ 659832 w 852"/>
                <a:gd name="T73" fmla="*/ 1525501 h 1565"/>
                <a:gd name="T74" fmla="*/ 759451 w 852"/>
                <a:gd name="T75" fmla="*/ 1450024 h 1565"/>
                <a:gd name="T76" fmla="*/ 827427 w 852"/>
                <a:gd name="T77" fmla="*/ 1373483 h 1565"/>
                <a:gd name="T78" fmla="*/ 877823 w 852"/>
                <a:gd name="T79" fmla="*/ 1313951 h 1565"/>
                <a:gd name="T80" fmla="*/ 895403 w 852"/>
                <a:gd name="T81" fmla="*/ 1235284 h 1565"/>
                <a:gd name="T82" fmla="*/ 945798 w 852"/>
                <a:gd name="T83" fmla="*/ 1158743 h 1565"/>
                <a:gd name="T84" fmla="*/ 963378 w 852"/>
                <a:gd name="T85" fmla="*/ 1068382 h 1565"/>
                <a:gd name="T86" fmla="*/ 827427 w 852"/>
                <a:gd name="T87" fmla="*/ 1008851 h 1565"/>
                <a:gd name="T88" fmla="*/ 827427 w 852"/>
                <a:gd name="T89" fmla="*/ 978022 h 1565"/>
                <a:gd name="T90" fmla="*/ 827427 w 852"/>
                <a:gd name="T91" fmla="*/ 915301 h 1565"/>
                <a:gd name="T92" fmla="*/ 795783 w 852"/>
                <a:gd name="T93" fmla="*/ 870652 h 1565"/>
                <a:gd name="T94" fmla="*/ 777031 w 852"/>
                <a:gd name="T95" fmla="*/ 807931 h 1565"/>
                <a:gd name="T96" fmla="*/ 743044 w 852"/>
                <a:gd name="T97" fmla="*/ 777102 h 1565"/>
                <a:gd name="T98" fmla="*/ 743044 w 852"/>
                <a:gd name="T99" fmla="*/ 717570 h 1565"/>
                <a:gd name="T100" fmla="*/ 743044 w 852"/>
                <a:gd name="T101" fmla="*/ 641029 h 1565"/>
                <a:gd name="T102" fmla="*/ 659832 w 852"/>
                <a:gd name="T103" fmla="*/ 548543 h 1565"/>
                <a:gd name="T104" fmla="*/ 625844 w 852"/>
                <a:gd name="T105" fmla="*/ 458182 h 1565"/>
                <a:gd name="T106" fmla="*/ 641080 w 852"/>
                <a:gd name="T107" fmla="*/ 381641 h 1565"/>
                <a:gd name="T108" fmla="*/ 575449 w 852"/>
                <a:gd name="T109" fmla="*/ 289154 h 1565"/>
                <a:gd name="T110" fmla="*/ 522709 w 852"/>
                <a:gd name="T111" fmla="*/ 229622 h 1565"/>
                <a:gd name="T112" fmla="*/ 556697 w 852"/>
                <a:gd name="T113" fmla="*/ 181784 h 15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close/>
                </a:path>
              </a:pathLst>
            </a:custGeom>
            <a:grpFill/>
            <a:ln w="3175" cmpd="sng">
              <a:solidFill>
                <a:schemeClr val="bg1"/>
              </a:solidFill>
              <a:round/>
              <a:headEnd/>
              <a:tailEnd/>
            </a:ln>
          </p:spPr>
          <p:txBody>
            <a:bodyPr/>
            <a:lstStyle/>
            <a:p>
              <a:endParaRPr lang="da-DK"/>
            </a:p>
          </p:txBody>
        </p:sp>
        <p:sp>
          <p:nvSpPr>
            <p:cNvPr id="72" name="Freeform 1099">
              <a:extLst>
                <a:ext uri="{FF2B5EF4-FFF2-40B4-BE49-F238E27FC236}">
                  <a16:creationId xmlns:a16="http://schemas.microsoft.com/office/drawing/2014/main" id="{7079CBB8-2DF1-6804-6E9F-B7BF2C81EDF7}"/>
                </a:ext>
              </a:extLst>
            </p:cNvPr>
            <p:cNvSpPr>
              <a:spLocks/>
            </p:cNvSpPr>
            <p:nvPr>
              <p:custDataLst>
                <p:tags r:id="rId51"/>
              </p:custDataLst>
            </p:nvPr>
          </p:nvSpPr>
          <p:spPr bwMode="auto">
            <a:xfrm>
              <a:off x="6267252" y="4865866"/>
              <a:ext cx="816451" cy="466963"/>
            </a:xfrm>
            <a:custGeom>
              <a:avLst/>
              <a:gdLst>
                <a:gd name="T0" fmla="*/ 135159 w 751"/>
                <a:gd name="T1" fmla="*/ 490950 h 473"/>
                <a:gd name="T2" fmla="*/ 205677 w 751"/>
                <a:gd name="T3" fmla="*/ 490950 h 473"/>
                <a:gd name="T4" fmla="*/ 255040 w 751"/>
                <a:gd name="T5" fmla="*/ 504825 h 473"/>
                <a:gd name="T6" fmla="*/ 289124 w 751"/>
                <a:gd name="T7" fmla="*/ 473874 h 473"/>
                <a:gd name="T8" fmla="*/ 322032 w 751"/>
                <a:gd name="T9" fmla="*/ 459999 h 473"/>
                <a:gd name="T10" fmla="*/ 339662 w 751"/>
                <a:gd name="T11" fmla="*/ 459999 h 473"/>
                <a:gd name="T12" fmla="*/ 373745 w 751"/>
                <a:gd name="T13" fmla="*/ 473874 h 473"/>
                <a:gd name="T14" fmla="*/ 390199 w 751"/>
                <a:gd name="T15" fmla="*/ 490950 h 473"/>
                <a:gd name="T16" fmla="*/ 439562 w 751"/>
                <a:gd name="T17" fmla="*/ 473874 h 473"/>
                <a:gd name="T18" fmla="*/ 492451 w 751"/>
                <a:gd name="T19" fmla="*/ 473874 h 473"/>
                <a:gd name="T20" fmla="*/ 542988 w 751"/>
                <a:gd name="T21" fmla="*/ 459999 h 473"/>
                <a:gd name="T22" fmla="*/ 594702 w 751"/>
                <a:gd name="T23" fmla="*/ 442923 h 473"/>
                <a:gd name="T24" fmla="*/ 577072 w 751"/>
                <a:gd name="T25" fmla="*/ 411971 h 473"/>
                <a:gd name="T26" fmla="*/ 611156 w 751"/>
                <a:gd name="T27" fmla="*/ 411971 h 473"/>
                <a:gd name="T28" fmla="*/ 631136 w 751"/>
                <a:gd name="T29" fmla="*/ 398097 h 473"/>
                <a:gd name="T30" fmla="*/ 656992 w 751"/>
                <a:gd name="T31" fmla="*/ 370347 h 473"/>
                <a:gd name="T32" fmla="*/ 676973 w 751"/>
                <a:gd name="T33" fmla="*/ 352203 h 473"/>
                <a:gd name="T34" fmla="*/ 713407 w 751"/>
                <a:gd name="T35" fmla="*/ 352203 h 473"/>
                <a:gd name="T36" fmla="*/ 729861 w 751"/>
                <a:gd name="T37" fmla="*/ 368213 h 473"/>
                <a:gd name="T38" fmla="*/ 779224 w 751"/>
                <a:gd name="T39" fmla="*/ 368213 h 473"/>
                <a:gd name="T40" fmla="*/ 829762 w 751"/>
                <a:gd name="T41" fmla="*/ 352203 h 473"/>
                <a:gd name="T42" fmla="*/ 813307 w 751"/>
                <a:gd name="T43" fmla="*/ 321252 h 473"/>
                <a:gd name="T44" fmla="*/ 795678 w 751"/>
                <a:gd name="T45" fmla="*/ 292436 h 473"/>
                <a:gd name="T46" fmla="*/ 745140 w 751"/>
                <a:gd name="T47" fmla="*/ 306310 h 473"/>
                <a:gd name="T48" fmla="*/ 745140 w 751"/>
                <a:gd name="T49" fmla="*/ 261484 h 473"/>
                <a:gd name="T50" fmla="*/ 779224 w 751"/>
                <a:gd name="T51" fmla="*/ 244408 h 473"/>
                <a:gd name="T52" fmla="*/ 795678 w 751"/>
                <a:gd name="T53" fmla="*/ 213457 h 473"/>
                <a:gd name="T54" fmla="*/ 779224 w 751"/>
                <a:gd name="T55" fmla="*/ 169698 h 473"/>
                <a:gd name="T56" fmla="*/ 795678 w 751"/>
                <a:gd name="T57" fmla="*/ 136612 h 473"/>
                <a:gd name="T58" fmla="*/ 829762 w 751"/>
                <a:gd name="T59" fmla="*/ 107796 h 473"/>
                <a:gd name="T60" fmla="*/ 882650 w 751"/>
                <a:gd name="T61" fmla="*/ 92854 h 473"/>
                <a:gd name="T62" fmla="*/ 863845 w 751"/>
                <a:gd name="T63" fmla="*/ 48028 h 473"/>
                <a:gd name="T64" fmla="*/ 776873 w 751"/>
                <a:gd name="T65" fmla="*/ 19211 h 473"/>
                <a:gd name="T66" fmla="*/ 747491 w 751"/>
                <a:gd name="T67" fmla="*/ 19211 h 473"/>
                <a:gd name="T68" fmla="*/ 695777 w 751"/>
                <a:gd name="T69" fmla="*/ 17077 h 473"/>
                <a:gd name="T70" fmla="*/ 645239 w 751"/>
                <a:gd name="T71" fmla="*/ 17077 h 473"/>
                <a:gd name="T72" fmla="*/ 558267 w 751"/>
                <a:gd name="T73" fmla="*/ 17077 h 473"/>
                <a:gd name="T74" fmla="*/ 508905 w 751"/>
                <a:gd name="T75" fmla="*/ 59768 h 473"/>
                <a:gd name="T76" fmla="*/ 439562 w 751"/>
                <a:gd name="T77" fmla="*/ 107796 h 473"/>
                <a:gd name="T78" fmla="*/ 390199 w 751"/>
                <a:gd name="T79" fmla="*/ 120603 h 473"/>
                <a:gd name="T80" fmla="*/ 339662 w 751"/>
                <a:gd name="T81" fmla="*/ 107796 h 473"/>
                <a:gd name="T82" fmla="*/ 289124 w 751"/>
                <a:gd name="T83" fmla="*/ 107796 h 473"/>
                <a:gd name="T84" fmla="*/ 220956 w 751"/>
                <a:gd name="T85" fmla="*/ 107796 h 473"/>
                <a:gd name="T86" fmla="*/ 171594 w 751"/>
                <a:gd name="T87" fmla="*/ 92854 h 473"/>
                <a:gd name="T88" fmla="*/ 99900 w 751"/>
                <a:gd name="T89" fmla="*/ 92854 h 473"/>
                <a:gd name="T90" fmla="*/ 84622 w 751"/>
                <a:gd name="T91" fmla="*/ 59768 h 473"/>
                <a:gd name="T92" fmla="*/ 52888 w 751"/>
                <a:gd name="T93" fmla="*/ 28817 h 473"/>
                <a:gd name="T94" fmla="*/ 34084 w 751"/>
                <a:gd name="T95" fmla="*/ 59768 h 473"/>
                <a:gd name="T96" fmla="*/ 0 w 751"/>
                <a:gd name="T97" fmla="*/ 76844 h 473"/>
                <a:gd name="T98" fmla="*/ 18805 w 751"/>
                <a:gd name="T99" fmla="*/ 136612 h 473"/>
                <a:gd name="T100" fmla="*/ 34084 w 751"/>
                <a:gd name="T101" fmla="*/ 169698 h 473"/>
                <a:gd name="T102" fmla="*/ 68167 w 751"/>
                <a:gd name="T103" fmla="*/ 169698 h 473"/>
                <a:gd name="T104" fmla="*/ 68167 w 751"/>
                <a:gd name="T105" fmla="*/ 198515 h 473"/>
                <a:gd name="T106" fmla="*/ 34084 w 751"/>
                <a:gd name="T107" fmla="*/ 229466 h 473"/>
                <a:gd name="T108" fmla="*/ 34084 w 751"/>
                <a:gd name="T109" fmla="*/ 275359 h 473"/>
                <a:gd name="T110" fmla="*/ 18805 w 751"/>
                <a:gd name="T111" fmla="*/ 306310 h 473"/>
                <a:gd name="T112" fmla="*/ 18805 w 751"/>
                <a:gd name="T113" fmla="*/ 352203 h 473"/>
                <a:gd name="T114" fmla="*/ 68167 w 751"/>
                <a:gd name="T115" fmla="*/ 383155 h 473"/>
                <a:gd name="T116" fmla="*/ 99900 w 751"/>
                <a:gd name="T117" fmla="*/ 411971 h 473"/>
                <a:gd name="T118" fmla="*/ 118705 w 751"/>
                <a:gd name="T119" fmla="*/ 442923 h 473"/>
                <a:gd name="T120" fmla="*/ 99900 w 751"/>
                <a:gd name="T121" fmla="*/ 473874 h 473"/>
                <a:gd name="T122" fmla="*/ 99900 w 751"/>
                <a:gd name="T123" fmla="*/ 490950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1" h="473">
                  <a:moveTo>
                    <a:pt x="85" y="460"/>
                  </a:moveTo>
                  <a:lnTo>
                    <a:pt x="115" y="460"/>
                  </a:lnTo>
                  <a:lnTo>
                    <a:pt x="146" y="460"/>
                  </a:lnTo>
                  <a:lnTo>
                    <a:pt x="175" y="460"/>
                  </a:lnTo>
                  <a:lnTo>
                    <a:pt x="202" y="460"/>
                  </a:lnTo>
                  <a:lnTo>
                    <a:pt x="217" y="473"/>
                  </a:lnTo>
                  <a:lnTo>
                    <a:pt x="246" y="460"/>
                  </a:lnTo>
                  <a:lnTo>
                    <a:pt x="246" y="444"/>
                  </a:lnTo>
                  <a:lnTo>
                    <a:pt x="260" y="444"/>
                  </a:lnTo>
                  <a:lnTo>
                    <a:pt x="274" y="431"/>
                  </a:lnTo>
                  <a:lnTo>
                    <a:pt x="289" y="444"/>
                  </a:lnTo>
                  <a:lnTo>
                    <a:pt x="289" y="431"/>
                  </a:lnTo>
                  <a:lnTo>
                    <a:pt x="305" y="431"/>
                  </a:lnTo>
                  <a:lnTo>
                    <a:pt x="318" y="444"/>
                  </a:lnTo>
                  <a:lnTo>
                    <a:pt x="332" y="444"/>
                  </a:lnTo>
                  <a:lnTo>
                    <a:pt x="332" y="460"/>
                  </a:lnTo>
                  <a:lnTo>
                    <a:pt x="363" y="444"/>
                  </a:lnTo>
                  <a:lnTo>
                    <a:pt x="374" y="444"/>
                  </a:lnTo>
                  <a:lnTo>
                    <a:pt x="390" y="444"/>
                  </a:lnTo>
                  <a:lnTo>
                    <a:pt x="419" y="444"/>
                  </a:lnTo>
                  <a:lnTo>
                    <a:pt x="433" y="431"/>
                  </a:lnTo>
                  <a:lnTo>
                    <a:pt x="462" y="431"/>
                  </a:lnTo>
                  <a:lnTo>
                    <a:pt x="491" y="431"/>
                  </a:lnTo>
                  <a:lnTo>
                    <a:pt x="506" y="415"/>
                  </a:lnTo>
                  <a:lnTo>
                    <a:pt x="491" y="402"/>
                  </a:lnTo>
                  <a:lnTo>
                    <a:pt x="491" y="386"/>
                  </a:lnTo>
                  <a:lnTo>
                    <a:pt x="506" y="386"/>
                  </a:lnTo>
                  <a:lnTo>
                    <a:pt x="520" y="386"/>
                  </a:lnTo>
                  <a:lnTo>
                    <a:pt x="520" y="373"/>
                  </a:lnTo>
                  <a:lnTo>
                    <a:pt x="537" y="373"/>
                  </a:lnTo>
                  <a:lnTo>
                    <a:pt x="545" y="347"/>
                  </a:lnTo>
                  <a:lnTo>
                    <a:pt x="559" y="347"/>
                  </a:lnTo>
                  <a:lnTo>
                    <a:pt x="562" y="345"/>
                  </a:lnTo>
                  <a:lnTo>
                    <a:pt x="576" y="330"/>
                  </a:lnTo>
                  <a:lnTo>
                    <a:pt x="592" y="330"/>
                  </a:lnTo>
                  <a:lnTo>
                    <a:pt x="607" y="330"/>
                  </a:lnTo>
                  <a:lnTo>
                    <a:pt x="621" y="330"/>
                  </a:lnTo>
                  <a:lnTo>
                    <a:pt x="621" y="345"/>
                  </a:lnTo>
                  <a:lnTo>
                    <a:pt x="634" y="345"/>
                  </a:lnTo>
                  <a:lnTo>
                    <a:pt x="663" y="345"/>
                  </a:lnTo>
                  <a:lnTo>
                    <a:pt x="706" y="345"/>
                  </a:lnTo>
                  <a:lnTo>
                    <a:pt x="706" y="330"/>
                  </a:lnTo>
                  <a:lnTo>
                    <a:pt x="706" y="301"/>
                  </a:lnTo>
                  <a:lnTo>
                    <a:pt x="692" y="301"/>
                  </a:lnTo>
                  <a:lnTo>
                    <a:pt x="677" y="287"/>
                  </a:lnTo>
                  <a:lnTo>
                    <a:pt x="677" y="274"/>
                  </a:lnTo>
                  <a:lnTo>
                    <a:pt x="650" y="274"/>
                  </a:lnTo>
                  <a:lnTo>
                    <a:pt x="634" y="287"/>
                  </a:lnTo>
                  <a:lnTo>
                    <a:pt x="634" y="258"/>
                  </a:lnTo>
                  <a:lnTo>
                    <a:pt x="634" y="245"/>
                  </a:lnTo>
                  <a:lnTo>
                    <a:pt x="650" y="229"/>
                  </a:lnTo>
                  <a:lnTo>
                    <a:pt x="663" y="229"/>
                  </a:lnTo>
                  <a:lnTo>
                    <a:pt x="663" y="215"/>
                  </a:lnTo>
                  <a:lnTo>
                    <a:pt x="677" y="200"/>
                  </a:lnTo>
                  <a:lnTo>
                    <a:pt x="663" y="186"/>
                  </a:lnTo>
                  <a:lnTo>
                    <a:pt x="663" y="159"/>
                  </a:lnTo>
                  <a:lnTo>
                    <a:pt x="677" y="159"/>
                  </a:lnTo>
                  <a:lnTo>
                    <a:pt x="677" y="128"/>
                  </a:lnTo>
                  <a:lnTo>
                    <a:pt x="677" y="101"/>
                  </a:lnTo>
                  <a:lnTo>
                    <a:pt x="706" y="101"/>
                  </a:lnTo>
                  <a:lnTo>
                    <a:pt x="735" y="101"/>
                  </a:lnTo>
                  <a:lnTo>
                    <a:pt x="751" y="87"/>
                  </a:lnTo>
                  <a:lnTo>
                    <a:pt x="735" y="49"/>
                  </a:lnTo>
                  <a:lnTo>
                    <a:pt x="735" y="45"/>
                  </a:lnTo>
                  <a:lnTo>
                    <a:pt x="677" y="23"/>
                  </a:lnTo>
                  <a:lnTo>
                    <a:pt x="661" y="18"/>
                  </a:lnTo>
                  <a:lnTo>
                    <a:pt x="652" y="18"/>
                  </a:lnTo>
                  <a:lnTo>
                    <a:pt x="636" y="18"/>
                  </a:lnTo>
                  <a:lnTo>
                    <a:pt x="605" y="23"/>
                  </a:lnTo>
                  <a:lnTo>
                    <a:pt x="592" y="16"/>
                  </a:lnTo>
                  <a:lnTo>
                    <a:pt x="562" y="16"/>
                  </a:lnTo>
                  <a:lnTo>
                    <a:pt x="549" y="16"/>
                  </a:lnTo>
                  <a:lnTo>
                    <a:pt x="533" y="0"/>
                  </a:lnTo>
                  <a:lnTo>
                    <a:pt x="475" y="16"/>
                  </a:lnTo>
                  <a:lnTo>
                    <a:pt x="462" y="27"/>
                  </a:lnTo>
                  <a:lnTo>
                    <a:pt x="433" y="56"/>
                  </a:lnTo>
                  <a:lnTo>
                    <a:pt x="403" y="87"/>
                  </a:lnTo>
                  <a:lnTo>
                    <a:pt x="374" y="101"/>
                  </a:lnTo>
                  <a:lnTo>
                    <a:pt x="363" y="113"/>
                  </a:lnTo>
                  <a:lnTo>
                    <a:pt x="332" y="113"/>
                  </a:lnTo>
                  <a:lnTo>
                    <a:pt x="305" y="101"/>
                  </a:lnTo>
                  <a:lnTo>
                    <a:pt x="289" y="101"/>
                  </a:lnTo>
                  <a:lnTo>
                    <a:pt x="260" y="101"/>
                  </a:lnTo>
                  <a:lnTo>
                    <a:pt x="246" y="101"/>
                  </a:lnTo>
                  <a:lnTo>
                    <a:pt x="217" y="101"/>
                  </a:lnTo>
                  <a:lnTo>
                    <a:pt x="188" y="101"/>
                  </a:lnTo>
                  <a:lnTo>
                    <a:pt x="175" y="87"/>
                  </a:lnTo>
                  <a:lnTo>
                    <a:pt x="146" y="87"/>
                  </a:lnTo>
                  <a:lnTo>
                    <a:pt x="115" y="87"/>
                  </a:lnTo>
                  <a:lnTo>
                    <a:pt x="85" y="87"/>
                  </a:lnTo>
                  <a:lnTo>
                    <a:pt x="72" y="72"/>
                  </a:lnTo>
                  <a:lnTo>
                    <a:pt x="72" y="56"/>
                  </a:lnTo>
                  <a:lnTo>
                    <a:pt x="72" y="27"/>
                  </a:lnTo>
                  <a:lnTo>
                    <a:pt x="45" y="27"/>
                  </a:lnTo>
                  <a:lnTo>
                    <a:pt x="58" y="27"/>
                  </a:lnTo>
                  <a:lnTo>
                    <a:pt x="29" y="56"/>
                  </a:lnTo>
                  <a:lnTo>
                    <a:pt x="16" y="72"/>
                  </a:lnTo>
                  <a:lnTo>
                    <a:pt x="0" y="72"/>
                  </a:lnTo>
                  <a:lnTo>
                    <a:pt x="16" y="101"/>
                  </a:lnTo>
                  <a:lnTo>
                    <a:pt x="16" y="128"/>
                  </a:lnTo>
                  <a:lnTo>
                    <a:pt x="29" y="142"/>
                  </a:lnTo>
                  <a:lnTo>
                    <a:pt x="29" y="159"/>
                  </a:lnTo>
                  <a:lnTo>
                    <a:pt x="45" y="159"/>
                  </a:lnTo>
                  <a:lnTo>
                    <a:pt x="58" y="159"/>
                  </a:lnTo>
                  <a:lnTo>
                    <a:pt x="72" y="173"/>
                  </a:lnTo>
                  <a:lnTo>
                    <a:pt x="58" y="186"/>
                  </a:lnTo>
                  <a:lnTo>
                    <a:pt x="58" y="200"/>
                  </a:lnTo>
                  <a:lnTo>
                    <a:pt x="29" y="215"/>
                  </a:lnTo>
                  <a:lnTo>
                    <a:pt x="29" y="229"/>
                  </a:lnTo>
                  <a:lnTo>
                    <a:pt x="29" y="258"/>
                  </a:lnTo>
                  <a:lnTo>
                    <a:pt x="16" y="258"/>
                  </a:lnTo>
                  <a:lnTo>
                    <a:pt x="16" y="287"/>
                  </a:lnTo>
                  <a:lnTo>
                    <a:pt x="16" y="301"/>
                  </a:lnTo>
                  <a:lnTo>
                    <a:pt x="16" y="330"/>
                  </a:lnTo>
                  <a:lnTo>
                    <a:pt x="45" y="345"/>
                  </a:lnTo>
                  <a:lnTo>
                    <a:pt x="58" y="359"/>
                  </a:lnTo>
                  <a:lnTo>
                    <a:pt x="72" y="373"/>
                  </a:lnTo>
                  <a:lnTo>
                    <a:pt x="85" y="386"/>
                  </a:lnTo>
                  <a:lnTo>
                    <a:pt x="101" y="402"/>
                  </a:lnTo>
                  <a:lnTo>
                    <a:pt x="101" y="415"/>
                  </a:lnTo>
                  <a:lnTo>
                    <a:pt x="101" y="431"/>
                  </a:lnTo>
                  <a:lnTo>
                    <a:pt x="85" y="444"/>
                  </a:lnTo>
                  <a:lnTo>
                    <a:pt x="85" y="460"/>
                  </a:lnTo>
                  <a:close/>
                </a:path>
              </a:pathLst>
            </a:custGeom>
            <a:grpFill/>
            <a:ln w="3175" cmpd="sng">
              <a:solidFill>
                <a:schemeClr val="bg1"/>
              </a:solidFill>
              <a:round/>
              <a:headEnd/>
              <a:tailEnd/>
            </a:ln>
          </p:spPr>
          <p:txBody>
            <a:bodyPr/>
            <a:lstStyle/>
            <a:p>
              <a:endParaRPr lang="da-DK"/>
            </a:p>
          </p:txBody>
        </p:sp>
        <p:sp>
          <p:nvSpPr>
            <p:cNvPr id="73" name="Freeform 1101">
              <a:extLst>
                <a:ext uri="{FF2B5EF4-FFF2-40B4-BE49-F238E27FC236}">
                  <a16:creationId xmlns:a16="http://schemas.microsoft.com/office/drawing/2014/main" id="{EE2D18D4-8C7A-FA5B-DEBC-BB5A81473C61}"/>
                </a:ext>
              </a:extLst>
            </p:cNvPr>
            <p:cNvSpPr>
              <a:spLocks/>
            </p:cNvSpPr>
            <p:nvPr>
              <p:custDataLst>
                <p:tags r:id="rId52"/>
              </p:custDataLst>
            </p:nvPr>
          </p:nvSpPr>
          <p:spPr bwMode="auto">
            <a:xfrm>
              <a:off x="6052860" y="4222689"/>
              <a:ext cx="1132165" cy="763588"/>
            </a:xfrm>
            <a:custGeom>
              <a:avLst/>
              <a:gdLst>
                <a:gd name="T0" fmla="*/ 270026 w 1038"/>
                <a:gd name="T1" fmla="*/ 693420 h 775"/>
                <a:gd name="T2" fmla="*/ 270026 w 1038"/>
                <a:gd name="T3" fmla="*/ 648683 h 775"/>
                <a:gd name="T4" fmla="*/ 187486 w 1038"/>
                <a:gd name="T5" fmla="*/ 662530 h 775"/>
                <a:gd name="T6" fmla="*/ 119095 w 1038"/>
                <a:gd name="T7" fmla="*/ 648683 h 775"/>
                <a:gd name="T8" fmla="*/ 101407 w 1038"/>
                <a:gd name="T9" fmla="*/ 616728 h 775"/>
                <a:gd name="T10" fmla="*/ 101407 w 1038"/>
                <a:gd name="T11" fmla="*/ 571992 h 775"/>
                <a:gd name="T12" fmla="*/ 50704 w 1038"/>
                <a:gd name="T13" fmla="*/ 554949 h 775"/>
                <a:gd name="T14" fmla="*/ 31837 w 1038"/>
                <a:gd name="T15" fmla="*/ 495300 h 775"/>
                <a:gd name="T16" fmla="*/ 16508 w 1038"/>
                <a:gd name="T17" fmla="*/ 447368 h 775"/>
                <a:gd name="T18" fmla="*/ 16508 w 1038"/>
                <a:gd name="T19" fmla="*/ 418608 h 775"/>
                <a:gd name="T20" fmla="*/ 68391 w 1038"/>
                <a:gd name="T21" fmla="*/ 356829 h 775"/>
                <a:gd name="T22" fmla="*/ 102586 w 1038"/>
                <a:gd name="T23" fmla="*/ 313157 h 775"/>
                <a:gd name="T24" fmla="*/ 153290 w 1038"/>
                <a:gd name="T25" fmla="*/ 282268 h 775"/>
                <a:gd name="T26" fmla="*/ 169798 w 1038"/>
                <a:gd name="T27" fmla="*/ 189599 h 775"/>
                <a:gd name="T28" fmla="*/ 221681 w 1038"/>
                <a:gd name="T29" fmla="*/ 158709 h 775"/>
                <a:gd name="T30" fmla="*/ 272385 w 1038"/>
                <a:gd name="T31" fmla="*/ 112907 h 775"/>
                <a:gd name="T32" fmla="*/ 274743 w 1038"/>
                <a:gd name="T33" fmla="*/ 53258 h 775"/>
                <a:gd name="T34" fmla="*/ 377329 w 1038"/>
                <a:gd name="T35" fmla="*/ 70301 h 775"/>
                <a:gd name="T36" fmla="*/ 445720 w 1038"/>
                <a:gd name="T37" fmla="*/ 66040 h 775"/>
                <a:gd name="T38" fmla="*/ 544769 w 1038"/>
                <a:gd name="T39" fmla="*/ 82017 h 775"/>
                <a:gd name="T40" fmla="*/ 608444 w 1038"/>
                <a:gd name="T41" fmla="*/ 44737 h 775"/>
                <a:gd name="T42" fmla="*/ 676834 w 1038"/>
                <a:gd name="T43" fmla="*/ 33020 h 775"/>
                <a:gd name="T44" fmla="*/ 761734 w 1038"/>
                <a:gd name="T45" fmla="*/ 11717 h 775"/>
                <a:gd name="T46" fmla="*/ 866678 w 1038"/>
                <a:gd name="T47" fmla="*/ 66040 h 775"/>
                <a:gd name="T48" fmla="*/ 935069 w 1038"/>
                <a:gd name="T49" fmla="*/ 141666 h 775"/>
                <a:gd name="T50" fmla="*/ 969265 w 1038"/>
                <a:gd name="T51" fmla="*/ 204511 h 775"/>
                <a:gd name="T52" fmla="*/ 1019968 w 1038"/>
                <a:gd name="T53" fmla="*/ 266290 h 775"/>
                <a:gd name="T54" fmla="*/ 1002281 w 1038"/>
                <a:gd name="T55" fmla="*/ 311027 h 775"/>
                <a:gd name="T56" fmla="*/ 1019968 w 1038"/>
                <a:gd name="T57" fmla="*/ 356829 h 775"/>
                <a:gd name="T58" fmla="*/ 1019968 w 1038"/>
                <a:gd name="T59" fmla="*/ 433521 h 775"/>
                <a:gd name="T60" fmla="*/ 1090718 w 1038"/>
                <a:gd name="T61" fmla="*/ 460150 h 775"/>
                <a:gd name="T62" fmla="*/ 1127271 w 1038"/>
                <a:gd name="T63" fmla="*/ 444172 h 775"/>
                <a:gd name="T64" fmla="*/ 1189767 w 1038"/>
                <a:gd name="T65" fmla="*/ 460150 h 775"/>
                <a:gd name="T66" fmla="*/ 1223962 w 1038"/>
                <a:gd name="T67" fmla="*/ 524059 h 775"/>
                <a:gd name="T68" fmla="*/ 1189767 w 1038"/>
                <a:gd name="T69" fmla="*/ 571992 h 775"/>
                <a:gd name="T70" fmla="*/ 1155571 w 1038"/>
                <a:gd name="T71" fmla="*/ 554949 h 775"/>
                <a:gd name="T72" fmla="*/ 1120196 w 1038"/>
                <a:gd name="T73" fmla="*/ 571992 h 775"/>
                <a:gd name="T74" fmla="*/ 1120196 w 1038"/>
                <a:gd name="T75" fmla="*/ 616728 h 775"/>
                <a:gd name="T76" fmla="*/ 1104867 w 1038"/>
                <a:gd name="T77" fmla="*/ 648683 h 775"/>
                <a:gd name="T78" fmla="*/ 1120196 w 1038"/>
                <a:gd name="T79" fmla="*/ 710463 h 775"/>
                <a:gd name="T80" fmla="*/ 1102509 w 1038"/>
                <a:gd name="T81" fmla="*/ 761590 h 775"/>
                <a:gd name="T82" fmla="*/ 1002281 w 1038"/>
                <a:gd name="T83" fmla="*/ 722179 h 775"/>
                <a:gd name="T84" fmla="*/ 932711 w 1038"/>
                <a:gd name="T85" fmla="*/ 718984 h 775"/>
                <a:gd name="T86" fmla="*/ 864320 w 1038"/>
                <a:gd name="T87" fmla="*/ 699811 h 775"/>
                <a:gd name="T88" fmla="*/ 757017 w 1038"/>
                <a:gd name="T89" fmla="*/ 761590 h 775"/>
                <a:gd name="T90" fmla="*/ 666222 w 1038"/>
                <a:gd name="T91" fmla="*/ 821239 h 775"/>
                <a:gd name="T92" fmla="*/ 578965 w 1038"/>
                <a:gd name="T93" fmla="*/ 811653 h 775"/>
                <a:gd name="T94" fmla="*/ 494066 w 1038"/>
                <a:gd name="T95" fmla="*/ 811653 h 775"/>
                <a:gd name="T96" fmla="*/ 409166 w 1038"/>
                <a:gd name="T97" fmla="*/ 798871 h 775"/>
                <a:gd name="T98" fmla="*/ 323088 w 1038"/>
                <a:gd name="T99" fmla="*/ 788219 h 775"/>
                <a:gd name="T100" fmla="*/ 306580 w 1038"/>
                <a:gd name="T101" fmla="*/ 739222 h 775"/>
                <a:gd name="T102" fmla="*/ 304222 w 1038"/>
                <a:gd name="T103" fmla="*/ 732831 h 7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38" h="775">
                  <a:moveTo>
                    <a:pt x="258" y="688"/>
                  </a:moveTo>
                  <a:lnTo>
                    <a:pt x="243" y="657"/>
                  </a:lnTo>
                  <a:lnTo>
                    <a:pt x="229" y="651"/>
                  </a:lnTo>
                  <a:lnTo>
                    <a:pt x="229" y="638"/>
                  </a:lnTo>
                  <a:lnTo>
                    <a:pt x="245" y="622"/>
                  </a:lnTo>
                  <a:lnTo>
                    <a:pt x="229" y="609"/>
                  </a:lnTo>
                  <a:lnTo>
                    <a:pt x="202" y="622"/>
                  </a:lnTo>
                  <a:lnTo>
                    <a:pt x="188" y="638"/>
                  </a:lnTo>
                  <a:lnTo>
                    <a:pt x="159" y="622"/>
                  </a:lnTo>
                  <a:lnTo>
                    <a:pt x="144" y="609"/>
                  </a:lnTo>
                  <a:lnTo>
                    <a:pt x="130" y="609"/>
                  </a:lnTo>
                  <a:lnTo>
                    <a:pt x="101" y="609"/>
                  </a:lnTo>
                  <a:lnTo>
                    <a:pt x="86" y="609"/>
                  </a:lnTo>
                  <a:lnTo>
                    <a:pt x="86" y="593"/>
                  </a:lnTo>
                  <a:lnTo>
                    <a:pt x="86" y="579"/>
                  </a:lnTo>
                  <a:lnTo>
                    <a:pt x="101" y="566"/>
                  </a:lnTo>
                  <a:lnTo>
                    <a:pt x="101" y="550"/>
                  </a:lnTo>
                  <a:lnTo>
                    <a:pt x="86" y="537"/>
                  </a:lnTo>
                  <a:lnTo>
                    <a:pt x="72" y="521"/>
                  </a:lnTo>
                  <a:lnTo>
                    <a:pt x="56" y="521"/>
                  </a:lnTo>
                  <a:lnTo>
                    <a:pt x="43" y="521"/>
                  </a:lnTo>
                  <a:lnTo>
                    <a:pt x="43" y="492"/>
                  </a:lnTo>
                  <a:lnTo>
                    <a:pt x="27" y="481"/>
                  </a:lnTo>
                  <a:lnTo>
                    <a:pt x="27" y="465"/>
                  </a:lnTo>
                  <a:lnTo>
                    <a:pt x="27" y="436"/>
                  </a:lnTo>
                  <a:lnTo>
                    <a:pt x="27" y="420"/>
                  </a:lnTo>
                  <a:lnTo>
                    <a:pt x="14" y="420"/>
                  </a:lnTo>
                  <a:lnTo>
                    <a:pt x="0" y="420"/>
                  </a:lnTo>
                  <a:lnTo>
                    <a:pt x="14" y="393"/>
                  </a:lnTo>
                  <a:lnTo>
                    <a:pt x="29" y="364"/>
                  </a:lnTo>
                  <a:lnTo>
                    <a:pt x="43" y="351"/>
                  </a:lnTo>
                  <a:lnTo>
                    <a:pt x="58" y="335"/>
                  </a:lnTo>
                  <a:lnTo>
                    <a:pt x="72" y="322"/>
                  </a:lnTo>
                  <a:lnTo>
                    <a:pt x="87" y="306"/>
                  </a:lnTo>
                  <a:lnTo>
                    <a:pt x="87" y="294"/>
                  </a:lnTo>
                  <a:lnTo>
                    <a:pt x="101" y="294"/>
                  </a:lnTo>
                  <a:lnTo>
                    <a:pt x="115" y="279"/>
                  </a:lnTo>
                  <a:lnTo>
                    <a:pt x="130" y="265"/>
                  </a:lnTo>
                  <a:lnTo>
                    <a:pt x="130" y="221"/>
                  </a:lnTo>
                  <a:lnTo>
                    <a:pt x="144" y="207"/>
                  </a:lnTo>
                  <a:lnTo>
                    <a:pt x="144" y="178"/>
                  </a:lnTo>
                  <a:lnTo>
                    <a:pt x="159" y="163"/>
                  </a:lnTo>
                  <a:lnTo>
                    <a:pt x="173" y="149"/>
                  </a:lnTo>
                  <a:lnTo>
                    <a:pt x="188" y="149"/>
                  </a:lnTo>
                  <a:lnTo>
                    <a:pt x="202" y="135"/>
                  </a:lnTo>
                  <a:lnTo>
                    <a:pt x="217" y="120"/>
                  </a:lnTo>
                  <a:lnTo>
                    <a:pt x="231" y="106"/>
                  </a:lnTo>
                  <a:lnTo>
                    <a:pt x="231" y="91"/>
                  </a:lnTo>
                  <a:lnTo>
                    <a:pt x="208" y="56"/>
                  </a:lnTo>
                  <a:lnTo>
                    <a:pt x="233" y="50"/>
                  </a:lnTo>
                  <a:lnTo>
                    <a:pt x="274" y="50"/>
                  </a:lnTo>
                  <a:lnTo>
                    <a:pt x="301" y="56"/>
                  </a:lnTo>
                  <a:lnTo>
                    <a:pt x="320" y="66"/>
                  </a:lnTo>
                  <a:lnTo>
                    <a:pt x="336" y="77"/>
                  </a:lnTo>
                  <a:lnTo>
                    <a:pt x="363" y="81"/>
                  </a:lnTo>
                  <a:lnTo>
                    <a:pt x="378" y="62"/>
                  </a:lnTo>
                  <a:lnTo>
                    <a:pt x="404" y="56"/>
                  </a:lnTo>
                  <a:lnTo>
                    <a:pt x="419" y="56"/>
                  </a:lnTo>
                  <a:lnTo>
                    <a:pt x="462" y="77"/>
                  </a:lnTo>
                  <a:lnTo>
                    <a:pt x="477" y="66"/>
                  </a:lnTo>
                  <a:lnTo>
                    <a:pt x="506" y="42"/>
                  </a:lnTo>
                  <a:lnTo>
                    <a:pt x="516" y="42"/>
                  </a:lnTo>
                  <a:lnTo>
                    <a:pt x="541" y="42"/>
                  </a:lnTo>
                  <a:lnTo>
                    <a:pt x="568" y="42"/>
                  </a:lnTo>
                  <a:lnTo>
                    <a:pt x="574" y="31"/>
                  </a:lnTo>
                  <a:lnTo>
                    <a:pt x="580" y="13"/>
                  </a:lnTo>
                  <a:lnTo>
                    <a:pt x="621" y="0"/>
                  </a:lnTo>
                  <a:lnTo>
                    <a:pt x="646" y="11"/>
                  </a:lnTo>
                  <a:lnTo>
                    <a:pt x="677" y="19"/>
                  </a:lnTo>
                  <a:lnTo>
                    <a:pt x="693" y="33"/>
                  </a:lnTo>
                  <a:lnTo>
                    <a:pt x="735" y="62"/>
                  </a:lnTo>
                  <a:lnTo>
                    <a:pt x="729" y="112"/>
                  </a:lnTo>
                  <a:lnTo>
                    <a:pt x="764" y="120"/>
                  </a:lnTo>
                  <a:lnTo>
                    <a:pt x="793" y="133"/>
                  </a:lnTo>
                  <a:lnTo>
                    <a:pt x="793" y="163"/>
                  </a:lnTo>
                  <a:lnTo>
                    <a:pt x="807" y="178"/>
                  </a:lnTo>
                  <a:lnTo>
                    <a:pt x="822" y="192"/>
                  </a:lnTo>
                  <a:lnTo>
                    <a:pt x="850" y="207"/>
                  </a:lnTo>
                  <a:lnTo>
                    <a:pt x="850" y="221"/>
                  </a:lnTo>
                  <a:lnTo>
                    <a:pt x="865" y="250"/>
                  </a:lnTo>
                  <a:lnTo>
                    <a:pt x="865" y="263"/>
                  </a:lnTo>
                  <a:lnTo>
                    <a:pt x="865" y="292"/>
                  </a:lnTo>
                  <a:lnTo>
                    <a:pt x="850" y="292"/>
                  </a:lnTo>
                  <a:lnTo>
                    <a:pt x="850" y="306"/>
                  </a:lnTo>
                  <a:lnTo>
                    <a:pt x="850" y="322"/>
                  </a:lnTo>
                  <a:lnTo>
                    <a:pt x="865" y="335"/>
                  </a:lnTo>
                  <a:lnTo>
                    <a:pt x="865" y="349"/>
                  </a:lnTo>
                  <a:lnTo>
                    <a:pt x="865" y="378"/>
                  </a:lnTo>
                  <a:lnTo>
                    <a:pt x="865" y="407"/>
                  </a:lnTo>
                  <a:lnTo>
                    <a:pt x="879" y="430"/>
                  </a:lnTo>
                  <a:lnTo>
                    <a:pt x="910" y="422"/>
                  </a:lnTo>
                  <a:lnTo>
                    <a:pt x="925" y="432"/>
                  </a:lnTo>
                  <a:lnTo>
                    <a:pt x="935" y="436"/>
                  </a:lnTo>
                  <a:lnTo>
                    <a:pt x="945" y="432"/>
                  </a:lnTo>
                  <a:lnTo>
                    <a:pt x="956" y="417"/>
                  </a:lnTo>
                  <a:lnTo>
                    <a:pt x="987" y="422"/>
                  </a:lnTo>
                  <a:lnTo>
                    <a:pt x="997" y="426"/>
                  </a:lnTo>
                  <a:lnTo>
                    <a:pt x="1009" y="432"/>
                  </a:lnTo>
                  <a:lnTo>
                    <a:pt x="1028" y="457"/>
                  </a:lnTo>
                  <a:lnTo>
                    <a:pt x="1038" y="436"/>
                  </a:lnTo>
                  <a:lnTo>
                    <a:pt x="1038" y="492"/>
                  </a:lnTo>
                  <a:lnTo>
                    <a:pt x="1024" y="521"/>
                  </a:lnTo>
                  <a:lnTo>
                    <a:pt x="1009" y="521"/>
                  </a:lnTo>
                  <a:lnTo>
                    <a:pt x="1009" y="537"/>
                  </a:lnTo>
                  <a:lnTo>
                    <a:pt x="995" y="550"/>
                  </a:lnTo>
                  <a:lnTo>
                    <a:pt x="980" y="550"/>
                  </a:lnTo>
                  <a:lnTo>
                    <a:pt x="980" y="521"/>
                  </a:lnTo>
                  <a:lnTo>
                    <a:pt x="966" y="508"/>
                  </a:lnTo>
                  <a:lnTo>
                    <a:pt x="950" y="521"/>
                  </a:lnTo>
                  <a:lnTo>
                    <a:pt x="950" y="537"/>
                  </a:lnTo>
                  <a:lnTo>
                    <a:pt x="937" y="566"/>
                  </a:lnTo>
                  <a:lnTo>
                    <a:pt x="937" y="579"/>
                  </a:lnTo>
                  <a:lnTo>
                    <a:pt x="950" y="579"/>
                  </a:lnTo>
                  <a:lnTo>
                    <a:pt x="966" y="579"/>
                  </a:lnTo>
                  <a:lnTo>
                    <a:pt x="950" y="593"/>
                  </a:lnTo>
                  <a:lnTo>
                    <a:pt x="937" y="609"/>
                  </a:lnTo>
                  <a:lnTo>
                    <a:pt x="937" y="622"/>
                  </a:lnTo>
                  <a:lnTo>
                    <a:pt x="937" y="651"/>
                  </a:lnTo>
                  <a:lnTo>
                    <a:pt x="950" y="667"/>
                  </a:lnTo>
                  <a:lnTo>
                    <a:pt x="937" y="694"/>
                  </a:lnTo>
                  <a:lnTo>
                    <a:pt x="937" y="709"/>
                  </a:lnTo>
                  <a:lnTo>
                    <a:pt x="935" y="715"/>
                  </a:lnTo>
                  <a:lnTo>
                    <a:pt x="879" y="684"/>
                  </a:lnTo>
                  <a:lnTo>
                    <a:pt x="863" y="684"/>
                  </a:lnTo>
                  <a:lnTo>
                    <a:pt x="850" y="678"/>
                  </a:lnTo>
                  <a:lnTo>
                    <a:pt x="838" y="678"/>
                  </a:lnTo>
                  <a:lnTo>
                    <a:pt x="807" y="684"/>
                  </a:lnTo>
                  <a:lnTo>
                    <a:pt x="791" y="675"/>
                  </a:lnTo>
                  <a:lnTo>
                    <a:pt x="764" y="675"/>
                  </a:lnTo>
                  <a:lnTo>
                    <a:pt x="751" y="675"/>
                  </a:lnTo>
                  <a:lnTo>
                    <a:pt x="733" y="657"/>
                  </a:lnTo>
                  <a:lnTo>
                    <a:pt x="677" y="675"/>
                  </a:lnTo>
                  <a:lnTo>
                    <a:pt x="663" y="678"/>
                  </a:lnTo>
                  <a:lnTo>
                    <a:pt x="642" y="715"/>
                  </a:lnTo>
                  <a:lnTo>
                    <a:pt x="605" y="746"/>
                  </a:lnTo>
                  <a:lnTo>
                    <a:pt x="574" y="756"/>
                  </a:lnTo>
                  <a:lnTo>
                    <a:pt x="565" y="771"/>
                  </a:lnTo>
                  <a:lnTo>
                    <a:pt x="532" y="775"/>
                  </a:lnTo>
                  <a:lnTo>
                    <a:pt x="506" y="762"/>
                  </a:lnTo>
                  <a:lnTo>
                    <a:pt x="491" y="762"/>
                  </a:lnTo>
                  <a:lnTo>
                    <a:pt x="460" y="762"/>
                  </a:lnTo>
                  <a:lnTo>
                    <a:pt x="444" y="762"/>
                  </a:lnTo>
                  <a:lnTo>
                    <a:pt x="419" y="762"/>
                  </a:lnTo>
                  <a:lnTo>
                    <a:pt x="388" y="762"/>
                  </a:lnTo>
                  <a:lnTo>
                    <a:pt x="369" y="750"/>
                  </a:lnTo>
                  <a:lnTo>
                    <a:pt x="347" y="750"/>
                  </a:lnTo>
                  <a:lnTo>
                    <a:pt x="316" y="750"/>
                  </a:lnTo>
                  <a:lnTo>
                    <a:pt x="291" y="750"/>
                  </a:lnTo>
                  <a:lnTo>
                    <a:pt x="274" y="740"/>
                  </a:lnTo>
                  <a:lnTo>
                    <a:pt x="270" y="719"/>
                  </a:lnTo>
                  <a:lnTo>
                    <a:pt x="264" y="700"/>
                  </a:lnTo>
                  <a:lnTo>
                    <a:pt x="260" y="694"/>
                  </a:lnTo>
                  <a:lnTo>
                    <a:pt x="260" y="688"/>
                  </a:lnTo>
                  <a:lnTo>
                    <a:pt x="258" y="688"/>
                  </a:lnTo>
                  <a:close/>
                </a:path>
              </a:pathLst>
            </a:custGeom>
            <a:grpFill/>
            <a:ln w="3175" cmpd="sng">
              <a:solidFill>
                <a:schemeClr val="bg1"/>
              </a:solidFill>
              <a:round/>
              <a:headEnd/>
              <a:tailEnd/>
            </a:ln>
          </p:spPr>
          <p:txBody>
            <a:bodyPr/>
            <a:lstStyle/>
            <a:p>
              <a:endParaRPr lang="da-DK"/>
            </a:p>
          </p:txBody>
        </p:sp>
        <p:sp>
          <p:nvSpPr>
            <p:cNvPr id="74" name="Freeform 1103">
              <a:extLst>
                <a:ext uri="{FF2B5EF4-FFF2-40B4-BE49-F238E27FC236}">
                  <a16:creationId xmlns:a16="http://schemas.microsoft.com/office/drawing/2014/main" id="{630DB790-404B-30EE-524E-F874AA1A42CB}"/>
                </a:ext>
              </a:extLst>
            </p:cNvPr>
            <p:cNvSpPr>
              <a:spLocks/>
            </p:cNvSpPr>
            <p:nvPr>
              <p:custDataLst>
                <p:tags r:id="rId53"/>
              </p:custDataLst>
            </p:nvPr>
          </p:nvSpPr>
          <p:spPr bwMode="auto">
            <a:xfrm>
              <a:off x="6807638" y="5190390"/>
              <a:ext cx="377388" cy="280471"/>
            </a:xfrm>
            <a:custGeom>
              <a:avLst/>
              <a:gdLst>
                <a:gd name="T0" fmla="*/ 254253 w 345"/>
                <a:gd name="T1" fmla="*/ 15847 h 287"/>
                <a:gd name="T2" fmla="*/ 271991 w 345"/>
                <a:gd name="T3" fmla="*/ 30638 h 287"/>
                <a:gd name="T4" fmla="*/ 271991 w 345"/>
                <a:gd name="T5" fmla="*/ 47542 h 287"/>
                <a:gd name="T6" fmla="*/ 271991 w 345"/>
                <a:gd name="T7" fmla="*/ 61276 h 287"/>
                <a:gd name="T8" fmla="*/ 303921 w 345"/>
                <a:gd name="T9" fmla="*/ 61276 h 287"/>
                <a:gd name="T10" fmla="*/ 339398 w 345"/>
                <a:gd name="T11" fmla="*/ 91914 h 287"/>
                <a:gd name="T12" fmla="*/ 357136 w 345"/>
                <a:gd name="T13" fmla="*/ 91914 h 287"/>
                <a:gd name="T14" fmla="*/ 391431 w 345"/>
                <a:gd name="T15" fmla="*/ 106705 h 287"/>
                <a:gd name="T16" fmla="*/ 407987 w 345"/>
                <a:gd name="T17" fmla="*/ 106705 h 287"/>
                <a:gd name="T18" fmla="*/ 407987 w 345"/>
                <a:gd name="T19" fmla="*/ 137343 h 287"/>
                <a:gd name="T20" fmla="*/ 391431 w 345"/>
                <a:gd name="T21" fmla="*/ 153191 h 287"/>
                <a:gd name="T22" fmla="*/ 373692 w 345"/>
                <a:gd name="T23" fmla="*/ 153191 h 287"/>
                <a:gd name="T24" fmla="*/ 339398 w 345"/>
                <a:gd name="T25" fmla="*/ 153191 h 287"/>
                <a:gd name="T26" fmla="*/ 303921 w 345"/>
                <a:gd name="T27" fmla="*/ 153191 h 287"/>
                <a:gd name="T28" fmla="*/ 288547 w 345"/>
                <a:gd name="T29" fmla="*/ 153191 h 287"/>
                <a:gd name="T30" fmla="*/ 254253 w 345"/>
                <a:gd name="T31" fmla="*/ 165869 h 287"/>
                <a:gd name="T32" fmla="*/ 237697 w 345"/>
                <a:gd name="T33" fmla="*/ 182772 h 287"/>
                <a:gd name="T34" fmla="*/ 219958 w 345"/>
                <a:gd name="T35" fmla="*/ 196507 h 287"/>
                <a:gd name="T36" fmla="*/ 185664 w 345"/>
                <a:gd name="T37" fmla="*/ 213411 h 287"/>
                <a:gd name="T38" fmla="*/ 169108 w 345"/>
                <a:gd name="T39" fmla="*/ 227145 h 287"/>
                <a:gd name="T40" fmla="*/ 169108 w 345"/>
                <a:gd name="T41" fmla="*/ 241936 h 287"/>
                <a:gd name="T42" fmla="*/ 134813 w 345"/>
                <a:gd name="T43" fmla="*/ 257783 h 287"/>
                <a:gd name="T44" fmla="*/ 118257 w 345"/>
                <a:gd name="T45" fmla="*/ 274687 h 287"/>
                <a:gd name="T46" fmla="*/ 68589 w 345"/>
                <a:gd name="T47" fmla="*/ 288421 h 287"/>
                <a:gd name="T48" fmla="*/ 49668 w 345"/>
                <a:gd name="T49" fmla="*/ 303212 h 287"/>
                <a:gd name="T50" fmla="*/ 31929 w 345"/>
                <a:gd name="T51" fmla="*/ 288421 h 287"/>
                <a:gd name="T52" fmla="*/ 68589 w 345"/>
                <a:gd name="T53" fmla="*/ 257783 h 287"/>
                <a:gd name="T54" fmla="*/ 83963 w 345"/>
                <a:gd name="T55" fmla="*/ 257783 h 287"/>
                <a:gd name="T56" fmla="*/ 83963 w 345"/>
                <a:gd name="T57" fmla="*/ 241936 h 287"/>
                <a:gd name="T58" fmla="*/ 83963 w 345"/>
                <a:gd name="T59" fmla="*/ 227145 h 287"/>
                <a:gd name="T60" fmla="*/ 68589 w 345"/>
                <a:gd name="T61" fmla="*/ 241936 h 287"/>
                <a:gd name="T62" fmla="*/ 49668 w 345"/>
                <a:gd name="T63" fmla="*/ 241936 h 287"/>
                <a:gd name="T64" fmla="*/ 15373 w 345"/>
                <a:gd name="T65" fmla="*/ 241936 h 287"/>
                <a:gd name="T66" fmla="*/ 0 w 345"/>
                <a:gd name="T67" fmla="*/ 227145 h 287"/>
                <a:gd name="T68" fmla="*/ 15373 w 345"/>
                <a:gd name="T69" fmla="*/ 213411 h 287"/>
                <a:gd name="T70" fmla="*/ 15373 w 345"/>
                <a:gd name="T71" fmla="*/ 196507 h 287"/>
                <a:gd name="T72" fmla="*/ 31929 w 345"/>
                <a:gd name="T73" fmla="*/ 182772 h 287"/>
                <a:gd name="T74" fmla="*/ 31929 w 345"/>
                <a:gd name="T75" fmla="*/ 153191 h 287"/>
                <a:gd name="T76" fmla="*/ 31929 w 345"/>
                <a:gd name="T77" fmla="*/ 137343 h 287"/>
                <a:gd name="T78" fmla="*/ 49668 w 345"/>
                <a:gd name="T79" fmla="*/ 137343 h 287"/>
                <a:gd name="T80" fmla="*/ 49668 w 345"/>
                <a:gd name="T81" fmla="*/ 122553 h 287"/>
                <a:gd name="T82" fmla="*/ 68589 w 345"/>
                <a:gd name="T83" fmla="*/ 106705 h 287"/>
                <a:gd name="T84" fmla="*/ 68589 w 345"/>
                <a:gd name="T85" fmla="*/ 91914 h 287"/>
                <a:gd name="T86" fmla="*/ 68589 w 345"/>
                <a:gd name="T87" fmla="*/ 76067 h 287"/>
                <a:gd name="T88" fmla="*/ 49668 w 345"/>
                <a:gd name="T89" fmla="*/ 76067 h 287"/>
                <a:gd name="T90" fmla="*/ 31929 w 345"/>
                <a:gd name="T91" fmla="*/ 61276 h 287"/>
                <a:gd name="T92" fmla="*/ 31929 w 345"/>
                <a:gd name="T93" fmla="*/ 47542 h 287"/>
                <a:gd name="T94" fmla="*/ 49668 w 345"/>
                <a:gd name="T95" fmla="*/ 30638 h 287"/>
                <a:gd name="T96" fmla="*/ 49668 w 345"/>
                <a:gd name="T97" fmla="*/ 15847 h 287"/>
                <a:gd name="T98" fmla="*/ 68589 w 345"/>
                <a:gd name="T99" fmla="*/ 15847 h 287"/>
                <a:gd name="T100" fmla="*/ 83963 w 345"/>
                <a:gd name="T101" fmla="*/ 15847 h 287"/>
                <a:gd name="T102" fmla="*/ 100519 w 345"/>
                <a:gd name="T103" fmla="*/ 0 h 287"/>
                <a:gd name="T104" fmla="*/ 118257 w 345"/>
                <a:gd name="T105" fmla="*/ 0 h 287"/>
                <a:gd name="T106" fmla="*/ 134813 w 345"/>
                <a:gd name="T107" fmla="*/ 0 h 287"/>
                <a:gd name="T108" fmla="*/ 152552 w 345"/>
                <a:gd name="T109" fmla="*/ 0 h 287"/>
                <a:gd name="T110" fmla="*/ 152552 w 345"/>
                <a:gd name="T111" fmla="*/ 15847 h 287"/>
                <a:gd name="T112" fmla="*/ 169108 w 345"/>
                <a:gd name="T113" fmla="*/ 15847 h 287"/>
                <a:gd name="T114" fmla="*/ 203402 w 345"/>
                <a:gd name="T115" fmla="*/ 15847 h 287"/>
                <a:gd name="T116" fmla="*/ 254253 w 345"/>
                <a:gd name="T117" fmla="*/ 15847 h 287"/>
                <a:gd name="T118" fmla="*/ 254253 w 345"/>
                <a:gd name="T119" fmla="*/ 15847 h 2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5" h="287">
                  <a:moveTo>
                    <a:pt x="215" y="15"/>
                  </a:moveTo>
                  <a:lnTo>
                    <a:pt x="230" y="29"/>
                  </a:lnTo>
                  <a:lnTo>
                    <a:pt x="230" y="45"/>
                  </a:lnTo>
                  <a:lnTo>
                    <a:pt x="230" y="58"/>
                  </a:lnTo>
                  <a:lnTo>
                    <a:pt x="257" y="58"/>
                  </a:lnTo>
                  <a:lnTo>
                    <a:pt x="287" y="87"/>
                  </a:lnTo>
                  <a:lnTo>
                    <a:pt x="302" y="87"/>
                  </a:lnTo>
                  <a:lnTo>
                    <a:pt x="331" y="101"/>
                  </a:lnTo>
                  <a:lnTo>
                    <a:pt x="345" y="101"/>
                  </a:lnTo>
                  <a:lnTo>
                    <a:pt x="345" y="130"/>
                  </a:lnTo>
                  <a:lnTo>
                    <a:pt x="331" y="145"/>
                  </a:lnTo>
                  <a:lnTo>
                    <a:pt x="316" y="145"/>
                  </a:lnTo>
                  <a:lnTo>
                    <a:pt x="287" y="145"/>
                  </a:lnTo>
                  <a:lnTo>
                    <a:pt x="257" y="145"/>
                  </a:lnTo>
                  <a:lnTo>
                    <a:pt x="244" y="145"/>
                  </a:lnTo>
                  <a:lnTo>
                    <a:pt x="215" y="157"/>
                  </a:lnTo>
                  <a:lnTo>
                    <a:pt x="201" y="173"/>
                  </a:lnTo>
                  <a:lnTo>
                    <a:pt x="186" y="186"/>
                  </a:lnTo>
                  <a:lnTo>
                    <a:pt x="157" y="202"/>
                  </a:lnTo>
                  <a:lnTo>
                    <a:pt x="143" y="215"/>
                  </a:lnTo>
                  <a:lnTo>
                    <a:pt x="143" y="229"/>
                  </a:lnTo>
                  <a:lnTo>
                    <a:pt x="114" y="244"/>
                  </a:lnTo>
                  <a:lnTo>
                    <a:pt x="100" y="260"/>
                  </a:lnTo>
                  <a:lnTo>
                    <a:pt x="58" y="273"/>
                  </a:lnTo>
                  <a:lnTo>
                    <a:pt x="42" y="287"/>
                  </a:lnTo>
                  <a:lnTo>
                    <a:pt x="27" y="273"/>
                  </a:lnTo>
                  <a:lnTo>
                    <a:pt x="58" y="244"/>
                  </a:lnTo>
                  <a:lnTo>
                    <a:pt x="71" y="244"/>
                  </a:lnTo>
                  <a:lnTo>
                    <a:pt x="71" y="229"/>
                  </a:lnTo>
                  <a:lnTo>
                    <a:pt x="71" y="215"/>
                  </a:lnTo>
                  <a:lnTo>
                    <a:pt x="58" y="229"/>
                  </a:lnTo>
                  <a:lnTo>
                    <a:pt x="42" y="229"/>
                  </a:lnTo>
                  <a:lnTo>
                    <a:pt x="13" y="229"/>
                  </a:lnTo>
                  <a:lnTo>
                    <a:pt x="0" y="215"/>
                  </a:lnTo>
                  <a:lnTo>
                    <a:pt x="13" y="202"/>
                  </a:lnTo>
                  <a:lnTo>
                    <a:pt x="13" y="186"/>
                  </a:lnTo>
                  <a:lnTo>
                    <a:pt x="27" y="173"/>
                  </a:lnTo>
                  <a:lnTo>
                    <a:pt x="27" y="145"/>
                  </a:lnTo>
                  <a:lnTo>
                    <a:pt x="27" y="130"/>
                  </a:lnTo>
                  <a:lnTo>
                    <a:pt x="42" y="130"/>
                  </a:lnTo>
                  <a:lnTo>
                    <a:pt x="42" y="116"/>
                  </a:lnTo>
                  <a:lnTo>
                    <a:pt x="58" y="101"/>
                  </a:lnTo>
                  <a:lnTo>
                    <a:pt x="58" y="87"/>
                  </a:lnTo>
                  <a:lnTo>
                    <a:pt x="58" y="72"/>
                  </a:lnTo>
                  <a:lnTo>
                    <a:pt x="42" y="72"/>
                  </a:lnTo>
                  <a:lnTo>
                    <a:pt x="27" y="58"/>
                  </a:lnTo>
                  <a:lnTo>
                    <a:pt x="27" y="45"/>
                  </a:lnTo>
                  <a:lnTo>
                    <a:pt x="42" y="29"/>
                  </a:lnTo>
                  <a:lnTo>
                    <a:pt x="42" y="15"/>
                  </a:lnTo>
                  <a:lnTo>
                    <a:pt x="58" y="15"/>
                  </a:lnTo>
                  <a:lnTo>
                    <a:pt x="71" y="15"/>
                  </a:lnTo>
                  <a:lnTo>
                    <a:pt x="85" y="0"/>
                  </a:lnTo>
                  <a:lnTo>
                    <a:pt x="100" y="0"/>
                  </a:lnTo>
                  <a:lnTo>
                    <a:pt x="114" y="0"/>
                  </a:lnTo>
                  <a:lnTo>
                    <a:pt x="129" y="0"/>
                  </a:lnTo>
                  <a:lnTo>
                    <a:pt x="129" y="15"/>
                  </a:lnTo>
                  <a:lnTo>
                    <a:pt x="143" y="15"/>
                  </a:lnTo>
                  <a:lnTo>
                    <a:pt x="172" y="15"/>
                  </a:lnTo>
                  <a:lnTo>
                    <a:pt x="215" y="15"/>
                  </a:lnTo>
                  <a:close/>
                </a:path>
              </a:pathLst>
            </a:custGeom>
            <a:grpFill/>
            <a:ln w="3175" cmpd="sng">
              <a:solidFill>
                <a:schemeClr val="bg1"/>
              </a:solidFill>
              <a:round/>
              <a:headEnd/>
              <a:tailEnd/>
            </a:ln>
          </p:spPr>
          <p:txBody>
            <a:bodyPr/>
            <a:lstStyle/>
            <a:p>
              <a:endParaRPr lang="da-DK"/>
            </a:p>
          </p:txBody>
        </p:sp>
        <p:sp>
          <p:nvSpPr>
            <p:cNvPr id="75" name="Freeform 1107">
              <a:extLst>
                <a:ext uri="{FF2B5EF4-FFF2-40B4-BE49-F238E27FC236}">
                  <a16:creationId xmlns:a16="http://schemas.microsoft.com/office/drawing/2014/main" id="{9BFB9E04-49E7-5D96-66FF-407703ED3B25}"/>
                </a:ext>
              </a:extLst>
            </p:cNvPr>
            <p:cNvSpPr>
              <a:spLocks/>
            </p:cNvSpPr>
            <p:nvPr>
              <p:custDataLst>
                <p:tags r:id="rId54"/>
              </p:custDataLst>
            </p:nvPr>
          </p:nvSpPr>
          <p:spPr bwMode="auto">
            <a:xfrm>
              <a:off x="5917764" y="5159553"/>
              <a:ext cx="218797" cy="424379"/>
            </a:xfrm>
            <a:custGeom>
              <a:avLst/>
              <a:gdLst>
                <a:gd name="T0" fmla="*/ 236537 w 202"/>
                <a:gd name="T1" fmla="*/ 289929 h 432"/>
                <a:gd name="T2" fmla="*/ 236537 w 202"/>
                <a:gd name="T3" fmla="*/ 320727 h 432"/>
                <a:gd name="T4" fmla="*/ 202579 w 202"/>
                <a:gd name="T5" fmla="*/ 368517 h 432"/>
                <a:gd name="T6" fmla="*/ 168620 w 202"/>
                <a:gd name="T7" fmla="*/ 381261 h 432"/>
                <a:gd name="T8" fmla="*/ 152227 w 202"/>
                <a:gd name="T9" fmla="*/ 412060 h 432"/>
                <a:gd name="T10" fmla="*/ 118268 w 202"/>
                <a:gd name="T11" fmla="*/ 427990 h 432"/>
                <a:gd name="T12" fmla="*/ 118268 w 202"/>
                <a:gd name="T13" fmla="*/ 458788 h 432"/>
                <a:gd name="T14" fmla="*/ 84310 w 202"/>
                <a:gd name="T15" fmla="*/ 427990 h 432"/>
                <a:gd name="T16" fmla="*/ 50352 w 202"/>
                <a:gd name="T17" fmla="*/ 412060 h 432"/>
                <a:gd name="T18" fmla="*/ 0 w 202"/>
                <a:gd name="T19" fmla="*/ 397191 h 432"/>
                <a:gd name="T20" fmla="*/ 16394 w 202"/>
                <a:gd name="T21" fmla="*/ 368517 h 432"/>
                <a:gd name="T22" fmla="*/ 0 w 202"/>
                <a:gd name="T23" fmla="*/ 352587 h 432"/>
                <a:gd name="T24" fmla="*/ 16394 w 202"/>
                <a:gd name="T25" fmla="*/ 320727 h 432"/>
                <a:gd name="T26" fmla="*/ 0 w 202"/>
                <a:gd name="T27" fmla="*/ 289929 h 432"/>
                <a:gd name="T28" fmla="*/ 16394 w 202"/>
                <a:gd name="T29" fmla="*/ 261254 h 432"/>
                <a:gd name="T30" fmla="*/ 16394 w 202"/>
                <a:gd name="T31" fmla="*/ 214526 h 432"/>
                <a:gd name="T32" fmla="*/ 16394 w 202"/>
                <a:gd name="T33" fmla="*/ 182666 h 432"/>
                <a:gd name="T34" fmla="*/ 16394 w 202"/>
                <a:gd name="T35" fmla="*/ 151867 h 432"/>
                <a:gd name="T36" fmla="*/ 33958 w 202"/>
                <a:gd name="T37" fmla="*/ 138061 h 432"/>
                <a:gd name="T38" fmla="*/ 16394 w 202"/>
                <a:gd name="T39" fmla="*/ 107263 h 432"/>
                <a:gd name="T40" fmla="*/ 16394 w 202"/>
                <a:gd name="T41" fmla="*/ 61597 h 432"/>
                <a:gd name="T42" fmla="*/ 16394 w 202"/>
                <a:gd name="T43" fmla="*/ 30798 h 432"/>
                <a:gd name="T44" fmla="*/ 50352 w 202"/>
                <a:gd name="T45" fmla="*/ 15930 h 432"/>
                <a:gd name="T46" fmla="*/ 99533 w 202"/>
                <a:gd name="T47" fmla="*/ 15930 h 432"/>
                <a:gd name="T48" fmla="*/ 152227 w 202"/>
                <a:gd name="T49" fmla="*/ 30798 h 432"/>
                <a:gd name="T50" fmla="*/ 168620 w 202"/>
                <a:gd name="T51" fmla="*/ 78589 h 432"/>
                <a:gd name="T52" fmla="*/ 152227 w 202"/>
                <a:gd name="T53" fmla="*/ 107263 h 432"/>
                <a:gd name="T54" fmla="*/ 152227 w 202"/>
                <a:gd name="T55" fmla="*/ 151867 h 432"/>
                <a:gd name="T56" fmla="*/ 168620 w 202"/>
                <a:gd name="T57" fmla="*/ 182666 h 432"/>
                <a:gd name="T58" fmla="*/ 183843 w 202"/>
                <a:gd name="T59" fmla="*/ 214526 h 432"/>
                <a:gd name="T60" fmla="*/ 202579 w 202"/>
                <a:gd name="T61" fmla="*/ 261254 h 432"/>
                <a:gd name="T62" fmla="*/ 217801 w 202"/>
                <a:gd name="T63" fmla="*/ 276122 h 4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close/>
                </a:path>
              </a:pathLst>
            </a:custGeom>
            <a:grpFill/>
            <a:ln w="3175" cmpd="sng">
              <a:solidFill>
                <a:schemeClr val="bg1"/>
              </a:solidFill>
              <a:round/>
              <a:headEnd/>
              <a:tailEnd/>
            </a:ln>
          </p:spPr>
          <p:txBody>
            <a:bodyPr/>
            <a:lstStyle/>
            <a:p>
              <a:endParaRPr lang="da-DK"/>
            </a:p>
          </p:txBody>
        </p:sp>
        <p:sp>
          <p:nvSpPr>
            <p:cNvPr id="76" name="Freeform 1109">
              <a:extLst>
                <a:ext uri="{FF2B5EF4-FFF2-40B4-BE49-F238E27FC236}">
                  <a16:creationId xmlns:a16="http://schemas.microsoft.com/office/drawing/2014/main" id="{6D39D463-1A42-84AC-BD5C-BEDE010DD0FE}"/>
                </a:ext>
              </a:extLst>
            </p:cNvPr>
            <p:cNvSpPr>
              <a:spLocks/>
            </p:cNvSpPr>
            <p:nvPr>
              <p:custDataLst>
                <p:tags r:id="rId55"/>
              </p:custDataLst>
            </p:nvPr>
          </p:nvSpPr>
          <p:spPr bwMode="auto">
            <a:xfrm>
              <a:off x="5186482" y="4504630"/>
              <a:ext cx="1215866" cy="897216"/>
            </a:xfrm>
            <a:custGeom>
              <a:avLst/>
              <a:gdLst>
                <a:gd name="T0" fmla="*/ 1296798 w 1117"/>
                <a:gd name="T1" fmla="*/ 817708 h 911"/>
                <a:gd name="T2" fmla="*/ 1229723 w 1117"/>
                <a:gd name="T3" fmla="*/ 757018 h 911"/>
                <a:gd name="T4" fmla="*/ 1195596 w 1117"/>
                <a:gd name="T5" fmla="*/ 664387 h 911"/>
                <a:gd name="T6" fmla="*/ 1246197 w 1117"/>
                <a:gd name="T7" fmla="*/ 604763 h 911"/>
                <a:gd name="T8" fmla="*/ 1229723 w 1117"/>
                <a:gd name="T9" fmla="*/ 558980 h 911"/>
                <a:gd name="T10" fmla="*/ 1195596 w 1117"/>
                <a:gd name="T11" fmla="*/ 497226 h 911"/>
                <a:gd name="T12" fmla="*/ 1246197 w 1117"/>
                <a:gd name="T13" fmla="*/ 418436 h 911"/>
                <a:gd name="T14" fmla="*/ 1229723 w 1117"/>
                <a:gd name="T15" fmla="*/ 358812 h 911"/>
                <a:gd name="T16" fmla="*/ 1127344 w 1117"/>
                <a:gd name="T17" fmla="*/ 358812 h 911"/>
                <a:gd name="T18" fmla="*/ 1042617 w 1117"/>
                <a:gd name="T19" fmla="*/ 344970 h 911"/>
                <a:gd name="T20" fmla="*/ 1059091 w 1117"/>
                <a:gd name="T21" fmla="*/ 282152 h 911"/>
                <a:gd name="T22" fmla="*/ 993192 w 1117"/>
                <a:gd name="T23" fmla="*/ 251275 h 911"/>
                <a:gd name="T24" fmla="*/ 974364 w 1117"/>
                <a:gd name="T25" fmla="*/ 160773 h 911"/>
                <a:gd name="T26" fmla="*/ 959066 w 1117"/>
                <a:gd name="T27" fmla="*/ 114990 h 911"/>
                <a:gd name="T28" fmla="*/ 869632 w 1117"/>
                <a:gd name="T29" fmla="*/ 114990 h 911"/>
                <a:gd name="T30" fmla="*/ 782551 w 1117"/>
                <a:gd name="T31" fmla="*/ 114990 h 911"/>
                <a:gd name="T32" fmla="*/ 701354 w 1117"/>
                <a:gd name="T33" fmla="*/ 143738 h 911"/>
                <a:gd name="T34" fmla="*/ 618980 w 1117"/>
                <a:gd name="T35" fmla="*/ 177809 h 911"/>
                <a:gd name="T36" fmla="*/ 551904 w 1117"/>
                <a:gd name="T37" fmla="*/ 160773 h 911"/>
                <a:gd name="T38" fmla="*/ 497773 w 1117"/>
                <a:gd name="T39" fmla="*/ 129896 h 911"/>
                <a:gd name="T40" fmla="*/ 447172 w 1117"/>
                <a:gd name="T41" fmla="*/ 68142 h 911"/>
                <a:gd name="T42" fmla="*/ 408339 w 1117"/>
                <a:gd name="T43" fmla="*/ 9583 h 911"/>
                <a:gd name="T44" fmla="*/ 310667 w 1117"/>
                <a:gd name="T45" fmla="*/ 18100 h 911"/>
                <a:gd name="T46" fmla="*/ 196520 w 1117"/>
                <a:gd name="T47" fmla="*/ 44718 h 911"/>
                <a:gd name="T48" fmla="*/ 145919 w 1117"/>
                <a:gd name="T49" fmla="*/ 66013 h 911"/>
                <a:gd name="T50" fmla="*/ 72960 w 1117"/>
                <a:gd name="T51" fmla="*/ 30877 h 911"/>
                <a:gd name="T52" fmla="*/ 23535 w 1117"/>
                <a:gd name="T53" fmla="*/ 70272 h 911"/>
                <a:gd name="T54" fmla="*/ 0 w 1117"/>
                <a:gd name="T55" fmla="*/ 114990 h 911"/>
                <a:gd name="T56" fmla="*/ 57662 w 1117"/>
                <a:gd name="T57" fmla="*/ 143738 h 911"/>
                <a:gd name="T58" fmla="*/ 41187 w 1117"/>
                <a:gd name="T59" fmla="*/ 208686 h 911"/>
                <a:gd name="T60" fmla="*/ 24712 w 1117"/>
                <a:gd name="T61" fmla="*/ 251275 h 911"/>
                <a:gd name="T62" fmla="*/ 57662 w 1117"/>
                <a:gd name="T63" fmla="*/ 327935 h 911"/>
                <a:gd name="T64" fmla="*/ 109439 w 1117"/>
                <a:gd name="T65" fmla="*/ 237433 h 911"/>
                <a:gd name="T66" fmla="*/ 177692 w 1117"/>
                <a:gd name="T67" fmla="*/ 282152 h 911"/>
                <a:gd name="T68" fmla="*/ 177692 w 1117"/>
                <a:gd name="T69" fmla="*/ 389689 h 911"/>
                <a:gd name="T70" fmla="*/ 244768 w 1117"/>
                <a:gd name="T71" fmla="*/ 418436 h 911"/>
                <a:gd name="T72" fmla="*/ 244768 w 1117"/>
                <a:gd name="T73" fmla="*/ 466349 h 911"/>
                <a:gd name="T74" fmla="*/ 313020 w 1117"/>
                <a:gd name="T75" fmla="*/ 543009 h 911"/>
                <a:gd name="T76" fmla="*/ 431874 w 1117"/>
                <a:gd name="T77" fmla="*/ 573886 h 911"/>
                <a:gd name="T78" fmla="*/ 534253 w 1117"/>
                <a:gd name="T79" fmla="*/ 664387 h 911"/>
                <a:gd name="T80" fmla="*/ 618980 w 1117"/>
                <a:gd name="T81" fmla="*/ 710170 h 911"/>
                <a:gd name="T82" fmla="*/ 704884 w 1117"/>
                <a:gd name="T83" fmla="*/ 741047 h 911"/>
                <a:gd name="T84" fmla="*/ 737834 w 1117"/>
                <a:gd name="T85" fmla="*/ 802801 h 911"/>
                <a:gd name="T86" fmla="*/ 806086 w 1117"/>
                <a:gd name="T87" fmla="*/ 817708 h 911"/>
                <a:gd name="T88" fmla="*/ 806086 w 1117"/>
                <a:gd name="T89" fmla="*/ 741047 h 911"/>
                <a:gd name="T90" fmla="*/ 889637 w 1117"/>
                <a:gd name="T91" fmla="*/ 726141 h 911"/>
                <a:gd name="T92" fmla="*/ 959066 w 1117"/>
                <a:gd name="T93" fmla="*/ 788960 h 911"/>
                <a:gd name="T94" fmla="*/ 940238 w 1117"/>
                <a:gd name="T95" fmla="*/ 864555 h 911"/>
                <a:gd name="T96" fmla="*/ 974364 w 1117"/>
                <a:gd name="T97" fmla="*/ 925245 h 911"/>
                <a:gd name="T98" fmla="*/ 1027319 w 1117"/>
                <a:gd name="T99" fmla="*/ 956122 h 911"/>
                <a:gd name="T100" fmla="*/ 1093218 w 1117"/>
                <a:gd name="T101" fmla="*/ 956122 h 911"/>
                <a:gd name="T102" fmla="*/ 1195596 w 1117"/>
                <a:gd name="T103" fmla="*/ 908209 h 911"/>
                <a:gd name="T104" fmla="*/ 1262672 w 1117"/>
                <a:gd name="T105" fmla="*/ 908209 h 911"/>
                <a:gd name="T106" fmla="*/ 1280324 w 1117"/>
                <a:gd name="T107" fmla="*/ 864555 h 9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17" h="911">
                  <a:moveTo>
                    <a:pt x="1088" y="810"/>
                  </a:moveTo>
                  <a:lnTo>
                    <a:pt x="1102" y="797"/>
                  </a:lnTo>
                  <a:lnTo>
                    <a:pt x="1102" y="783"/>
                  </a:lnTo>
                  <a:lnTo>
                    <a:pt x="1102" y="768"/>
                  </a:lnTo>
                  <a:lnTo>
                    <a:pt x="1088" y="754"/>
                  </a:lnTo>
                  <a:lnTo>
                    <a:pt x="1073" y="741"/>
                  </a:lnTo>
                  <a:lnTo>
                    <a:pt x="1059" y="725"/>
                  </a:lnTo>
                  <a:lnTo>
                    <a:pt x="1045" y="711"/>
                  </a:lnTo>
                  <a:lnTo>
                    <a:pt x="1016" y="696"/>
                  </a:lnTo>
                  <a:lnTo>
                    <a:pt x="1016" y="667"/>
                  </a:lnTo>
                  <a:lnTo>
                    <a:pt x="1016" y="653"/>
                  </a:lnTo>
                  <a:lnTo>
                    <a:pt x="1016" y="624"/>
                  </a:lnTo>
                  <a:lnTo>
                    <a:pt x="1030" y="624"/>
                  </a:lnTo>
                  <a:lnTo>
                    <a:pt x="1030" y="597"/>
                  </a:lnTo>
                  <a:lnTo>
                    <a:pt x="1030" y="582"/>
                  </a:lnTo>
                  <a:lnTo>
                    <a:pt x="1059" y="568"/>
                  </a:lnTo>
                  <a:lnTo>
                    <a:pt x="1059" y="552"/>
                  </a:lnTo>
                  <a:lnTo>
                    <a:pt x="1073" y="539"/>
                  </a:lnTo>
                  <a:lnTo>
                    <a:pt x="1059" y="525"/>
                  </a:lnTo>
                  <a:lnTo>
                    <a:pt x="1045" y="525"/>
                  </a:lnTo>
                  <a:lnTo>
                    <a:pt x="1030" y="525"/>
                  </a:lnTo>
                  <a:lnTo>
                    <a:pt x="1030" y="510"/>
                  </a:lnTo>
                  <a:lnTo>
                    <a:pt x="1016" y="496"/>
                  </a:lnTo>
                  <a:lnTo>
                    <a:pt x="1016" y="467"/>
                  </a:lnTo>
                  <a:lnTo>
                    <a:pt x="1001" y="438"/>
                  </a:lnTo>
                  <a:lnTo>
                    <a:pt x="1016" y="438"/>
                  </a:lnTo>
                  <a:lnTo>
                    <a:pt x="1030" y="424"/>
                  </a:lnTo>
                  <a:lnTo>
                    <a:pt x="1059" y="393"/>
                  </a:lnTo>
                  <a:lnTo>
                    <a:pt x="1045" y="366"/>
                  </a:lnTo>
                  <a:lnTo>
                    <a:pt x="1030" y="366"/>
                  </a:lnTo>
                  <a:lnTo>
                    <a:pt x="1030" y="353"/>
                  </a:lnTo>
                  <a:lnTo>
                    <a:pt x="1045" y="337"/>
                  </a:lnTo>
                  <a:lnTo>
                    <a:pt x="1030" y="324"/>
                  </a:lnTo>
                  <a:lnTo>
                    <a:pt x="1001" y="337"/>
                  </a:lnTo>
                  <a:lnTo>
                    <a:pt x="987" y="353"/>
                  </a:lnTo>
                  <a:lnTo>
                    <a:pt x="958" y="337"/>
                  </a:lnTo>
                  <a:lnTo>
                    <a:pt x="943" y="324"/>
                  </a:lnTo>
                  <a:lnTo>
                    <a:pt x="929" y="324"/>
                  </a:lnTo>
                  <a:lnTo>
                    <a:pt x="900" y="324"/>
                  </a:lnTo>
                  <a:lnTo>
                    <a:pt x="886" y="324"/>
                  </a:lnTo>
                  <a:lnTo>
                    <a:pt x="886" y="308"/>
                  </a:lnTo>
                  <a:lnTo>
                    <a:pt x="886" y="294"/>
                  </a:lnTo>
                  <a:lnTo>
                    <a:pt x="900" y="281"/>
                  </a:lnTo>
                  <a:lnTo>
                    <a:pt x="900" y="265"/>
                  </a:lnTo>
                  <a:lnTo>
                    <a:pt x="886" y="252"/>
                  </a:lnTo>
                  <a:lnTo>
                    <a:pt x="873" y="236"/>
                  </a:lnTo>
                  <a:lnTo>
                    <a:pt x="857" y="236"/>
                  </a:lnTo>
                  <a:lnTo>
                    <a:pt x="844" y="236"/>
                  </a:lnTo>
                  <a:lnTo>
                    <a:pt x="844" y="207"/>
                  </a:lnTo>
                  <a:lnTo>
                    <a:pt x="828" y="196"/>
                  </a:lnTo>
                  <a:lnTo>
                    <a:pt x="828" y="180"/>
                  </a:lnTo>
                  <a:lnTo>
                    <a:pt x="828" y="151"/>
                  </a:lnTo>
                  <a:lnTo>
                    <a:pt x="828" y="135"/>
                  </a:lnTo>
                  <a:lnTo>
                    <a:pt x="815" y="135"/>
                  </a:lnTo>
                  <a:lnTo>
                    <a:pt x="799" y="135"/>
                  </a:lnTo>
                  <a:lnTo>
                    <a:pt x="815" y="108"/>
                  </a:lnTo>
                  <a:lnTo>
                    <a:pt x="791" y="103"/>
                  </a:lnTo>
                  <a:lnTo>
                    <a:pt x="772" y="95"/>
                  </a:lnTo>
                  <a:lnTo>
                    <a:pt x="739" y="95"/>
                  </a:lnTo>
                  <a:lnTo>
                    <a:pt x="739" y="108"/>
                  </a:lnTo>
                  <a:lnTo>
                    <a:pt x="718" y="110"/>
                  </a:lnTo>
                  <a:lnTo>
                    <a:pt x="714" y="116"/>
                  </a:lnTo>
                  <a:lnTo>
                    <a:pt x="698" y="99"/>
                  </a:lnTo>
                  <a:lnTo>
                    <a:pt x="665" y="108"/>
                  </a:lnTo>
                  <a:lnTo>
                    <a:pt x="644" y="124"/>
                  </a:lnTo>
                  <a:lnTo>
                    <a:pt x="632" y="128"/>
                  </a:lnTo>
                  <a:lnTo>
                    <a:pt x="607" y="128"/>
                  </a:lnTo>
                  <a:lnTo>
                    <a:pt x="596" y="135"/>
                  </a:lnTo>
                  <a:lnTo>
                    <a:pt x="578" y="153"/>
                  </a:lnTo>
                  <a:lnTo>
                    <a:pt x="561" y="170"/>
                  </a:lnTo>
                  <a:lnTo>
                    <a:pt x="553" y="174"/>
                  </a:lnTo>
                  <a:lnTo>
                    <a:pt x="526" y="167"/>
                  </a:lnTo>
                  <a:lnTo>
                    <a:pt x="512" y="167"/>
                  </a:lnTo>
                  <a:lnTo>
                    <a:pt x="497" y="167"/>
                  </a:lnTo>
                  <a:lnTo>
                    <a:pt x="483" y="167"/>
                  </a:lnTo>
                  <a:lnTo>
                    <a:pt x="469" y="151"/>
                  </a:lnTo>
                  <a:lnTo>
                    <a:pt x="454" y="151"/>
                  </a:lnTo>
                  <a:lnTo>
                    <a:pt x="454" y="135"/>
                  </a:lnTo>
                  <a:lnTo>
                    <a:pt x="438" y="135"/>
                  </a:lnTo>
                  <a:lnTo>
                    <a:pt x="423" y="122"/>
                  </a:lnTo>
                  <a:lnTo>
                    <a:pt x="409" y="108"/>
                  </a:lnTo>
                  <a:lnTo>
                    <a:pt x="396" y="93"/>
                  </a:lnTo>
                  <a:lnTo>
                    <a:pt x="380" y="79"/>
                  </a:lnTo>
                  <a:lnTo>
                    <a:pt x="380" y="64"/>
                  </a:lnTo>
                  <a:lnTo>
                    <a:pt x="380" y="50"/>
                  </a:lnTo>
                  <a:lnTo>
                    <a:pt x="367" y="37"/>
                  </a:lnTo>
                  <a:lnTo>
                    <a:pt x="351" y="21"/>
                  </a:lnTo>
                  <a:lnTo>
                    <a:pt x="347" y="9"/>
                  </a:lnTo>
                  <a:lnTo>
                    <a:pt x="314" y="0"/>
                  </a:lnTo>
                  <a:lnTo>
                    <a:pt x="293" y="17"/>
                  </a:lnTo>
                  <a:lnTo>
                    <a:pt x="277" y="13"/>
                  </a:lnTo>
                  <a:lnTo>
                    <a:pt x="264" y="17"/>
                  </a:lnTo>
                  <a:lnTo>
                    <a:pt x="252" y="21"/>
                  </a:lnTo>
                  <a:lnTo>
                    <a:pt x="237" y="21"/>
                  </a:lnTo>
                  <a:lnTo>
                    <a:pt x="177" y="21"/>
                  </a:lnTo>
                  <a:lnTo>
                    <a:pt x="167" y="42"/>
                  </a:lnTo>
                  <a:lnTo>
                    <a:pt x="167" y="46"/>
                  </a:lnTo>
                  <a:lnTo>
                    <a:pt x="149" y="42"/>
                  </a:lnTo>
                  <a:lnTo>
                    <a:pt x="128" y="50"/>
                  </a:lnTo>
                  <a:lnTo>
                    <a:pt x="124" y="62"/>
                  </a:lnTo>
                  <a:lnTo>
                    <a:pt x="107" y="50"/>
                  </a:lnTo>
                  <a:lnTo>
                    <a:pt x="93" y="50"/>
                  </a:lnTo>
                  <a:lnTo>
                    <a:pt x="78" y="50"/>
                  </a:lnTo>
                  <a:lnTo>
                    <a:pt x="62" y="29"/>
                  </a:lnTo>
                  <a:lnTo>
                    <a:pt x="51" y="29"/>
                  </a:lnTo>
                  <a:lnTo>
                    <a:pt x="20" y="39"/>
                  </a:lnTo>
                  <a:lnTo>
                    <a:pt x="16" y="54"/>
                  </a:lnTo>
                  <a:lnTo>
                    <a:pt x="20" y="66"/>
                  </a:lnTo>
                  <a:lnTo>
                    <a:pt x="23" y="79"/>
                  </a:lnTo>
                  <a:lnTo>
                    <a:pt x="23" y="91"/>
                  </a:lnTo>
                  <a:lnTo>
                    <a:pt x="20" y="95"/>
                  </a:lnTo>
                  <a:lnTo>
                    <a:pt x="0" y="108"/>
                  </a:lnTo>
                  <a:lnTo>
                    <a:pt x="20" y="124"/>
                  </a:lnTo>
                  <a:lnTo>
                    <a:pt x="20" y="145"/>
                  </a:lnTo>
                  <a:lnTo>
                    <a:pt x="35" y="151"/>
                  </a:lnTo>
                  <a:lnTo>
                    <a:pt x="49" y="135"/>
                  </a:lnTo>
                  <a:lnTo>
                    <a:pt x="49" y="151"/>
                  </a:lnTo>
                  <a:lnTo>
                    <a:pt x="49" y="167"/>
                  </a:lnTo>
                  <a:lnTo>
                    <a:pt x="49" y="180"/>
                  </a:lnTo>
                  <a:lnTo>
                    <a:pt x="35" y="196"/>
                  </a:lnTo>
                  <a:lnTo>
                    <a:pt x="21" y="196"/>
                  </a:lnTo>
                  <a:lnTo>
                    <a:pt x="6" y="207"/>
                  </a:lnTo>
                  <a:lnTo>
                    <a:pt x="21" y="223"/>
                  </a:lnTo>
                  <a:lnTo>
                    <a:pt x="21" y="236"/>
                  </a:lnTo>
                  <a:lnTo>
                    <a:pt x="21" y="265"/>
                  </a:lnTo>
                  <a:lnTo>
                    <a:pt x="35" y="281"/>
                  </a:lnTo>
                  <a:lnTo>
                    <a:pt x="35" y="294"/>
                  </a:lnTo>
                  <a:lnTo>
                    <a:pt x="49" y="308"/>
                  </a:lnTo>
                  <a:lnTo>
                    <a:pt x="64" y="281"/>
                  </a:lnTo>
                  <a:lnTo>
                    <a:pt x="78" y="265"/>
                  </a:lnTo>
                  <a:lnTo>
                    <a:pt x="93" y="236"/>
                  </a:lnTo>
                  <a:lnTo>
                    <a:pt x="93" y="223"/>
                  </a:lnTo>
                  <a:lnTo>
                    <a:pt x="107" y="223"/>
                  </a:lnTo>
                  <a:lnTo>
                    <a:pt x="122" y="236"/>
                  </a:lnTo>
                  <a:lnTo>
                    <a:pt x="136" y="252"/>
                  </a:lnTo>
                  <a:lnTo>
                    <a:pt x="151" y="265"/>
                  </a:lnTo>
                  <a:lnTo>
                    <a:pt x="165" y="294"/>
                  </a:lnTo>
                  <a:lnTo>
                    <a:pt x="151" y="324"/>
                  </a:lnTo>
                  <a:lnTo>
                    <a:pt x="151" y="337"/>
                  </a:lnTo>
                  <a:lnTo>
                    <a:pt x="151" y="366"/>
                  </a:lnTo>
                  <a:lnTo>
                    <a:pt x="180" y="366"/>
                  </a:lnTo>
                  <a:lnTo>
                    <a:pt x="180" y="382"/>
                  </a:lnTo>
                  <a:lnTo>
                    <a:pt x="194" y="382"/>
                  </a:lnTo>
                  <a:lnTo>
                    <a:pt x="208" y="393"/>
                  </a:lnTo>
                  <a:lnTo>
                    <a:pt x="223" y="409"/>
                  </a:lnTo>
                  <a:lnTo>
                    <a:pt x="180" y="409"/>
                  </a:lnTo>
                  <a:lnTo>
                    <a:pt x="194" y="424"/>
                  </a:lnTo>
                  <a:lnTo>
                    <a:pt x="208" y="438"/>
                  </a:lnTo>
                  <a:lnTo>
                    <a:pt x="223" y="467"/>
                  </a:lnTo>
                  <a:lnTo>
                    <a:pt x="237" y="467"/>
                  </a:lnTo>
                  <a:lnTo>
                    <a:pt x="266" y="496"/>
                  </a:lnTo>
                  <a:lnTo>
                    <a:pt x="266" y="510"/>
                  </a:lnTo>
                  <a:lnTo>
                    <a:pt x="295" y="525"/>
                  </a:lnTo>
                  <a:lnTo>
                    <a:pt x="324" y="510"/>
                  </a:lnTo>
                  <a:lnTo>
                    <a:pt x="338" y="510"/>
                  </a:lnTo>
                  <a:lnTo>
                    <a:pt x="367" y="539"/>
                  </a:lnTo>
                  <a:lnTo>
                    <a:pt x="396" y="568"/>
                  </a:lnTo>
                  <a:lnTo>
                    <a:pt x="409" y="597"/>
                  </a:lnTo>
                  <a:lnTo>
                    <a:pt x="438" y="597"/>
                  </a:lnTo>
                  <a:lnTo>
                    <a:pt x="454" y="624"/>
                  </a:lnTo>
                  <a:lnTo>
                    <a:pt x="483" y="640"/>
                  </a:lnTo>
                  <a:lnTo>
                    <a:pt x="497" y="640"/>
                  </a:lnTo>
                  <a:lnTo>
                    <a:pt x="512" y="667"/>
                  </a:lnTo>
                  <a:lnTo>
                    <a:pt x="526" y="667"/>
                  </a:lnTo>
                  <a:lnTo>
                    <a:pt x="541" y="682"/>
                  </a:lnTo>
                  <a:lnTo>
                    <a:pt x="570" y="682"/>
                  </a:lnTo>
                  <a:lnTo>
                    <a:pt x="584" y="682"/>
                  </a:lnTo>
                  <a:lnTo>
                    <a:pt x="599" y="696"/>
                  </a:lnTo>
                  <a:lnTo>
                    <a:pt x="599" y="711"/>
                  </a:lnTo>
                  <a:lnTo>
                    <a:pt x="611" y="725"/>
                  </a:lnTo>
                  <a:lnTo>
                    <a:pt x="627" y="725"/>
                  </a:lnTo>
                  <a:lnTo>
                    <a:pt x="627" y="754"/>
                  </a:lnTo>
                  <a:lnTo>
                    <a:pt x="654" y="754"/>
                  </a:lnTo>
                  <a:lnTo>
                    <a:pt x="654" y="768"/>
                  </a:lnTo>
                  <a:lnTo>
                    <a:pt x="669" y="768"/>
                  </a:lnTo>
                  <a:lnTo>
                    <a:pt x="685" y="768"/>
                  </a:lnTo>
                  <a:lnTo>
                    <a:pt x="685" y="741"/>
                  </a:lnTo>
                  <a:lnTo>
                    <a:pt x="685" y="725"/>
                  </a:lnTo>
                  <a:lnTo>
                    <a:pt x="685" y="711"/>
                  </a:lnTo>
                  <a:lnTo>
                    <a:pt x="685" y="696"/>
                  </a:lnTo>
                  <a:lnTo>
                    <a:pt x="698" y="682"/>
                  </a:lnTo>
                  <a:lnTo>
                    <a:pt x="712" y="682"/>
                  </a:lnTo>
                  <a:lnTo>
                    <a:pt x="741" y="667"/>
                  </a:lnTo>
                  <a:lnTo>
                    <a:pt x="756" y="682"/>
                  </a:lnTo>
                  <a:lnTo>
                    <a:pt x="772" y="696"/>
                  </a:lnTo>
                  <a:lnTo>
                    <a:pt x="799" y="696"/>
                  </a:lnTo>
                  <a:lnTo>
                    <a:pt x="799" y="711"/>
                  </a:lnTo>
                  <a:lnTo>
                    <a:pt x="815" y="741"/>
                  </a:lnTo>
                  <a:lnTo>
                    <a:pt x="815" y="754"/>
                  </a:lnTo>
                  <a:lnTo>
                    <a:pt x="799" y="768"/>
                  </a:lnTo>
                  <a:lnTo>
                    <a:pt x="799" y="783"/>
                  </a:lnTo>
                  <a:lnTo>
                    <a:pt x="799" y="812"/>
                  </a:lnTo>
                  <a:lnTo>
                    <a:pt x="815" y="826"/>
                  </a:lnTo>
                  <a:lnTo>
                    <a:pt x="815" y="841"/>
                  </a:lnTo>
                  <a:lnTo>
                    <a:pt x="815" y="869"/>
                  </a:lnTo>
                  <a:lnTo>
                    <a:pt x="828" y="869"/>
                  </a:lnTo>
                  <a:lnTo>
                    <a:pt x="828" y="898"/>
                  </a:lnTo>
                  <a:lnTo>
                    <a:pt x="844" y="911"/>
                  </a:lnTo>
                  <a:lnTo>
                    <a:pt x="857" y="898"/>
                  </a:lnTo>
                  <a:lnTo>
                    <a:pt x="873" y="898"/>
                  </a:lnTo>
                  <a:lnTo>
                    <a:pt x="873" y="882"/>
                  </a:lnTo>
                  <a:lnTo>
                    <a:pt x="886" y="898"/>
                  </a:lnTo>
                  <a:lnTo>
                    <a:pt x="916" y="898"/>
                  </a:lnTo>
                  <a:lnTo>
                    <a:pt x="929" y="898"/>
                  </a:lnTo>
                  <a:lnTo>
                    <a:pt x="958" y="882"/>
                  </a:lnTo>
                  <a:lnTo>
                    <a:pt x="987" y="882"/>
                  </a:lnTo>
                  <a:lnTo>
                    <a:pt x="1001" y="869"/>
                  </a:lnTo>
                  <a:lnTo>
                    <a:pt x="1016" y="853"/>
                  </a:lnTo>
                  <a:lnTo>
                    <a:pt x="1030" y="869"/>
                  </a:lnTo>
                  <a:lnTo>
                    <a:pt x="1045" y="869"/>
                  </a:lnTo>
                  <a:lnTo>
                    <a:pt x="1059" y="869"/>
                  </a:lnTo>
                  <a:lnTo>
                    <a:pt x="1073" y="853"/>
                  </a:lnTo>
                  <a:lnTo>
                    <a:pt x="1088" y="841"/>
                  </a:lnTo>
                  <a:lnTo>
                    <a:pt x="1117" y="826"/>
                  </a:lnTo>
                  <a:lnTo>
                    <a:pt x="1088" y="812"/>
                  </a:lnTo>
                </a:path>
              </a:pathLst>
            </a:custGeom>
            <a:grpFill/>
            <a:ln w="3175" cmpd="sng">
              <a:solidFill>
                <a:schemeClr val="bg1"/>
              </a:solidFill>
              <a:prstDash val="solid"/>
              <a:round/>
              <a:headEnd/>
              <a:tailEnd/>
            </a:ln>
          </p:spPr>
          <p:txBody>
            <a:bodyPr/>
            <a:lstStyle/>
            <a:p>
              <a:endParaRPr lang="da-DK"/>
            </a:p>
          </p:txBody>
        </p:sp>
        <p:sp>
          <p:nvSpPr>
            <p:cNvPr id="77" name="Freeform 1110">
              <a:extLst>
                <a:ext uri="{FF2B5EF4-FFF2-40B4-BE49-F238E27FC236}">
                  <a16:creationId xmlns:a16="http://schemas.microsoft.com/office/drawing/2014/main" id="{5B015892-3547-4523-1484-98F3A8492041}"/>
                </a:ext>
              </a:extLst>
            </p:cNvPr>
            <p:cNvSpPr>
              <a:spLocks/>
            </p:cNvSpPr>
            <p:nvPr>
              <p:custDataLst>
                <p:tags r:id="rId56"/>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close/>
                </a:path>
              </a:pathLst>
            </a:custGeom>
            <a:grpFill/>
            <a:ln w="3175" cmpd="sng">
              <a:solidFill>
                <a:schemeClr val="bg1"/>
              </a:solidFill>
              <a:round/>
              <a:headEnd/>
              <a:tailEnd/>
            </a:ln>
          </p:spPr>
          <p:txBody>
            <a:bodyPr/>
            <a:lstStyle/>
            <a:p>
              <a:endParaRPr lang="da-DK"/>
            </a:p>
          </p:txBody>
        </p:sp>
        <p:sp>
          <p:nvSpPr>
            <p:cNvPr id="78" name="Freeform 1111">
              <a:extLst>
                <a:ext uri="{FF2B5EF4-FFF2-40B4-BE49-F238E27FC236}">
                  <a16:creationId xmlns:a16="http://schemas.microsoft.com/office/drawing/2014/main" id="{1A841204-6DA4-278F-96F5-9866A280D79D}"/>
                </a:ext>
              </a:extLst>
            </p:cNvPr>
            <p:cNvSpPr>
              <a:spLocks/>
            </p:cNvSpPr>
            <p:nvPr>
              <p:custDataLst>
                <p:tags r:id="rId57"/>
              </p:custDataLst>
            </p:nvPr>
          </p:nvSpPr>
          <p:spPr bwMode="auto">
            <a:xfrm>
              <a:off x="3600570" y="4918730"/>
              <a:ext cx="66079" cy="49927"/>
            </a:xfrm>
            <a:custGeom>
              <a:avLst/>
              <a:gdLst>
                <a:gd name="T0" fmla="*/ 0 w 60"/>
                <a:gd name="T1" fmla="*/ 21798 h 52"/>
                <a:gd name="T2" fmla="*/ 8334 w 60"/>
                <a:gd name="T3" fmla="*/ 9342 h 52"/>
                <a:gd name="T4" fmla="*/ 22622 w 60"/>
                <a:gd name="T5" fmla="*/ 3114 h 52"/>
                <a:gd name="T6" fmla="*/ 42862 w 60"/>
                <a:gd name="T7" fmla="*/ 0 h 52"/>
                <a:gd name="T8" fmla="*/ 54768 w 60"/>
                <a:gd name="T9" fmla="*/ 0 h 52"/>
                <a:gd name="T10" fmla="*/ 71437 w 60"/>
                <a:gd name="T11" fmla="*/ 19722 h 52"/>
                <a:gd name="T12" fmla="*/ 71437 w 60"/>
                <a:gd name="T13" fmla="*/ 41519 h 52"/>
                <a:gd name="T14" fmla="*/ 54768 w 60"/>
                <a:gd name="T15" fmla="*/ 53975 h 52"/>
                <a:gd name="T16" fmla="*/ 42862 w 60"/>
                <a:gd name="T17" fmla="*/ 53975 h 52"/>
                <a:gd name="T18" fmla="*/ 27384 w 60"/>
                <a:gd name="T19" fmla="*/ 51899 h 52"/>
                <a:gd name="T20" fmla="*/ 8334 w 60"/>
                <a:gd name="T21" fmla="*/ 45671 h 52"/>
                <a:gd name="T22" fmla="*/ 0 w 60"/>
                <a:gd name="T23" fmla="*/ 21798 h 52"/>
                <a:gd name="T24" fmla="*/ 0 w 60"/>
                <a:gd name="T25" fmla="*/ 2179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path>
              </a:pathLst>
            </a:custGeom>
            <a:grpFill/>
            <a:ln w="3175" cmpd="sng">
              <a:solidFill>
                <a:schemeClr val="bg1"/>
              </a:solidFill>
              <a:prstDash val="solid"/>
              <a:round/>
              <a:headEnd/>
              <a:tailEnd/>
            </a:ln>
          </p:spPr>
          <p:txBody>
            <a:bodyPr/>
            <a:lstStyle/>
            <a:p>
              <a:endParaRPr lang="da-DK"/>
            </a:p>
          </p:txBody>
        </p:sp>
        <p:sp>
          <p:nvSpPr>
            <p:cNvPr id="79" name="Freeform 1112">
              <a:extLst>
                <a:ext uri="{FF2B5EF4-FFF2-40B4-BE49-F238E27FC236}">
                  <a16:creationId xmlns:a16="http://schemas.microsoft.com/office/drawing/2014/main" id="{1E468606-E2B6-2784-2CB6-2EFBBC11E452}"/>
                </a:ext>
              </a:extLst>
            </p:cNvPr>
            <p:cNvSpPr>
              <a:spLocks/>
            </p:cNvSpPr>
            <p:nvPr>
              <p:custDataLst>
                <p:tags r:id="rId58"/>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close/>
                </a:path>
              </a:pathLst>
            </a:custGeom>
            <a:grpFill/>
            <a:ln w="3175" cmpd="sng">
              <a:solidFill>
                <a:schemeClr val="bg1"/>
              </a:solidFill>
              <a:round/>
              <a:headEnd/>
              <a:tailEnd/>
            </a:ln>
          </p:spPr>
          <p:txBody>
            <a:bodyPr/>
            <a:lstStyle/>
            <a:p>
              <a:endParaRPr lang="da-DK"/>
            </a:p>
          </p:txBody>
        </p:sp>
        <p:sp>
          <p:nvSpPr>
            <p:cNvPr id="80" name="Freeform 1113">
              <a:extLst>
                <a:ext uri="{FF2B5EF4-FFF2-40B4-BE49-F238E27FC236}">
                  <a16:creationId xmlns:a16="http://schemas.microsoft.com/office/drawing/2014/main" id="{1DA35B5C-574A-F4EB-D30F-B53802108051}"/>
                </a:ext>
              </a:extLst>
            </p:cNvPr>
            <p:cNvSpPr>
              <a:spLocks/>
            </p:cNvSpPr>
            <p:nvPr>
              <p:custDataLst>
                <p:tags r:id="rId59"/>
              </p:custDataLst>
            </p:nvPr>
          </p:nvSpPr>
          <p:spPr bwMode="auto">
            <a:xfrm>
              <a:off x="4720986" y="4371003"/>
              <a:ext cx="41116" cy="48458"/>
            </a:xfrm>
            <a:custGeom>
              <a:avLst/>
              <a:gdLst>
                <a:gd name="T0" fmla="*/ 21624 w 37"/>
                <a:gd name="T1" fmla="*/ 0 h 50"/>
                <a:gd name="T2" fmla="*/ 44450 w 37"/>
                <a:gd name="T3" fmla="*/ 15716 h 50"/>
                <a:gd name="T4" fmla="*/ 44450 w 37"/>
                <a:gd name="T5" fmla="*/ 40862 h 50"/>
                <a:gd name="T6" fmla="*/ 39645 w 37"/>
                <a:gd name="T7" fmla="*/ 50292 h 50"/>
                <a:gd name="T8" fmla="*/ 21624 w 37"/>
                <a:gd name="T9" fmla="*/ 52387 h 50"/>
                <a:gd name="T10" fmla="*/ 9611 w 37"/>
                <a:gd name="T11" fmla="*/ 52387 h 50"/>
                <a:gd name="T12" fmla="*/ 0 w 37"/>
                <a:gd name="T13" fmla="*/ 40862 h 50"/>
                <a:gd name="T14" fmla="*/ 0 w 37"/>
                <a:gd name="T15" fmla="*/ 14668 h 50"/>
                <a:gd name="T16" fmla="*/ 16819 w 37"/>
                <a:gd name="T17" fmla="*/ 2095 h 50"/>
                <a:gd name="T18" fmla="*/ 21624 w 37"/>
                <a:gd name="T19" fmla="*/ 0 h 50"/>
                <a:gd name="T20" fmla="*/ 21624 w 3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path>
              </a:pathLst>
            </a:custGeom>
            <a:grpFill/>
            <a:ln w="3175" cmpd="sng">
              <a:solidFill>
                <a:schemeClr val="bg1"/>
              </a:solidFill>
              <a:prstDash val="solid"/>
              <a:round/>
              <a:headEnd/>
              <a:tailEnd/>
            </a:ln>
          </p:spPr>
          <p:txBody>
            <a:bodyPr/>
            <a:lstStyle/>
            <a:p>
              <a:endParaRPr lang="da-DK"/>
            </a:p>
          </p:txBody>
        </p:sp>
        <p:sp>
          <p:nvSpPr>
            <p:cNvPr id="81" name="Freeform 1114">
              <a:extLst>
                <a:ext uri="{FF2B5EF4-FFF2-40B4-BE49-F238E27FC236}">
                  <a16:creationId xmlns:a16="http://schemas.microsoft.com/office/drawing/2014/main" id="{E5716548-6929-0214-A734-7F6808CB6741}"/>
                </a:ext>
              </a:extLst>
            </p:cNvPr>
            <p:cNvSpPr>
              <a:spLocks/>
            </p:cNvSpPr>
            <p:nvPr>
              <p:custDataLst>
                <p:tags r:id="rId60"/>
              </p:custDataLst>
            </p:nvPr>
          </p:nvSpPr>
          <p:spPr bwMode="auto">
            <a:xfrm>
              <a:off x="3906005" y="2346026"/>
              <a:ext cx="30837" cy="42585"/>
            </a:xfrm>
            <a:custGeom>
              <a:avLst/>
              <a:gdLst>
                <a:gd name="T0" fmla="*/ 33337 w 29"/>
                <a:gd name="T1" fmla="*/ 46038 h 43"/>
                <a:gd name="T2" fmla="*/ 17243 w 29"/>
                <a:gd name="T3" fmla="*/ 31049 h 43"/>
                <a:gd name="T4" fmla="*/ 0 w 29"/>
                <a:gd name="T5" fmla="*/ 14989 h 43"/>
                <a:gd name="T6" fmla="*/ 17243 w 29"/>
                <a:gd name="T7" fmla="*/ 14989 h 43"/>
                <a:gd name="T8" fmla="*/ 33337 w 29"/>
                <a:gd name="T9" fmla="*/ 0 h 43"/>
                <a:gd name="T10" fmla="*/ 33337 w 29"/>
                <a:gd name="T11" fmla="*/ 14989 h 43"/>
                <a:gd name="T12" fmla="*/ 33337 w 29"/>
                <a:gd name="T13" fmla="*/ 31049 h 43"/>
                <a:gd name="T14" fmla="*/ 33337 w 29"/>
                <a:gd name="T15" fmla="*/ 46038 h 43"/>
                <a:gd name="T16" fmla="*/ 33337 w 29"/>
                <a:gd name="T17" fmla="*/ 46038 h 43"/>
                <a:gd name="T18" fmla="*/ 33337 w 29"/>
                <a:gd name="T19" fmla="*/ 46038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43">
                  <a:moveTo>
                    <a:pt x="29" y="43"/>
                  </a:moveTo>
                  <a:lnTo>
                    <a:pt x="15" y="29"/>
                  </a:lnTo>
                  <a:lnTo>
                    <a:pt x="0" y="14"/>
                  </a:lnTo>
                  <a:lnTo>
                    <a:pt x="15" y="14"/>
                  </a:lnTo>
                  <a:lnTo>
                    <a:pt x="29" y="0"/>
                  </a:lnTo>
                  <a:lnTo>
                    <a:pt x="29" y="14"/>
                  </a:lnTo>
                  <a:lnTo>
                    <a:pt x="29" y="29"/>
                  </a:lnTo>
                  <a:lnTo>
                    <a:pt x="29" y="43"/>
                  </a:lnTo>
                  <a:close/>
                </a:path>
              </a:pathLst>
            </a:custGeom>
            <a:grpFill/>
            <a:ln w="3175" cmpd="sng">
              <a:solidFill>
                <a:schemeClr val="bg1"/>
              </a:solidFill>
              <a:round/>
              <a:headEnd/>
              <a:tailEnd/>
            </a:ln>
          </p:spPr>
          <p:txBody>
            <a:bodyPr/>
            <a:lstStyle/>
            <a:p>
              <a:endParaRPr lang="da-DK"/>
            </a:p>
          </p:txBody>
        </p:sp>
        <p:sp>
          <p:nvSpPr>
            <p:cNvPr id="82" name="Freeform 1116">
              <a:extLst>
                <a:ext uri="{FF2B5EF4-FFF2-40B4-BE49-F238E27FC236}">
                  <a16:creationId xmlns:a16="http://schemas.microsoft.com/office/drawing/2014/main" id="{8E5C3253-7426-9624-C6D7-5B0246748BD0}"/>
                </a:ext>
              </a:extLst>
            </p:cNvPr>
            <p:cNvSpPr>
              <a:spLocks/>
            </p:cNvSpPr>
            <p:nvPr>
              <p:custDataLst>
                <p:tags r:id="rId61"/>
              </p:custDataLst>
            </p:nvPr>
          </p:nvSpPr>
          <p:spPr bwMode="auto">
            <a:xfrm>
              <a:off x="4126270" y="2175687"/>
              <a:ext cx="46990" cy="111601"/>
            </a:xfrm>
            <a:custGeom>
              <a:avLst/>
              <a:gdLst>
                <a:gd name="T0" fmla="*/ 0 w 45"/>
                <a:gd name="T1" fmla="*/ 120650 h 114"/>
                <a:gd name="T2" fmla="*/ 18062 w 45"/>
                <a:gd name="T3" fmla="*/ 106892 h 114"/>
                <a:gd name="T4" fmla="*/ 18062 w 45"/>
                <a:gd name="T5" fmla="*/ 89958 h 114"/>
                <a:gd name="T6" fmla="*/ 0 w 45"/>
                <a:gd name="T7" fmla="*/ 76200 h 114"/>
                <a:gd name="T8" fmla="*/ 0 w 45"/>
                <a:gd name="T9" fmla="*/ 61383 h 114"/>
                <a:gd name="T10" fmla="*/ 33867 w 45"/>
                <a:gd name="T11" fmla="*/ 61383 h 114"/>
                <a:gd name="T12" fmla="*/ 33867 w 45"/>
                <a:gd name="T13" fmla="*/ 44450 h 114"/>
                <a:gd name="T14" fmla="*/ 50800 w 45"/>
                <a:gd name="T15" fmla="*/ 0 h 114"/>
                <a:gd name="T16" fmla="*/ 50800 w 45"/>
                <a:gd name="T17" fmla="*/ 28575 h 114"/>
                <a:gd name="T18" fmla="*/ 50800 w 45"/>
                <a:gd name="T19" fmla="*/ 44450 h 114"/>
                <a:gd name="T20" fmla="*/ 50800 w 45"/>
                <a:gd name="T21" fmla="*/ 61383 h 114"/>
                <a:gd name="T22" fmla="*/ 50800 w 45"/>
                <a:gd name="T23" fmla="*/ 76200 h 114"/>
                <a:gd name="T24" fmla="*/ 33867 w 45"/>
                <a:gd name="T25" fmla="*/ 89958 h 114"/>
                <a:gd name="T26" fmla="*/ 33867 w 45"/>
                <a:gd name="T27" fmla="*/ 106892 h 114"/>
                <a:gd name="T28" fmla="*/ 0 w 45"/>
                <a:gd name="T29" fmla="*/ 120650 h 114"/>
                <a:gd name="T30" fmla="*/ 0 w 45"/>
                <a:gd name="T31" fmla="*/ 120650 h 114"/>
                <a:gd name="T32" fmla="*/ 0 w 45"/>
                <a:gd name="T33" fmla="*/ 12065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close/>
                </a:path>
              </a:pathLst>
            </a:custGeom>
            <a:grpFill/>
            <a:ln w="3175" cmpd="sng">
              <a:solidFill>
                <a:schemeClr val="bg1"/>
              </a:solidFill>
              <a:round/>
              <a:headEnd/>
              <a:tailEnd/>
            </a:ln>
          </p:spPr>
          <p:txBody>
            <a:bodyPr/>
            <a:lstStyle/>
            <a:p>
              <a:endParaRPr lang="da-DK"/>
            </a:p>
          </p:txBody>
        </p:sp>
        <p:sp>
          <p:nvSpPr>
            <p:cNvPr id="83" name="Freeform 1118">
              <a:extLst>
                <a:ext uri="{FF2B5EF4-FFF2-40B4-BE49-F238E27FC236}">
                  <a16:creationId xmlns:a16="http://schemas.microsoft.com/office/drawing/2014/main" id="{71C7A32D-484B-B60C-A2D5-3CDEBB76A711}"/>
                </a:ext>
              </a:extLst>
            </p:cNvPr>
            <p:cNvSpPr>
              <a:spLocks/>
            </p:cNvSpPr>
            <p:nvPr>
              <p:custDataLst>
                <p:tags r:id="rId62"/>
              </p:custDataLst>
            </p:nvPr>
          </p:nvSpPr>
          <p:spPr bwMode="auto">
            <a:xfrm>
              <a:off x="3512463" y="2359244"/>
              <a:ext cx="110132" cy="96917"/>
            </a:xfrm>
            <a:custGeom>
              <a:avLst/>
              <a:gdLst>
                <a:gd name="T0" fmla="*/ 0 w 101"/>
                <a:gd name="T1" fmla="*/ 104775 h 101"/>
                <a:gd name="T2" fmla="*/ 18861 w 101"/>
                <a:gd name="T3" fmla="*/ 74691 h 101"/>
                <a:gd name="T4" fmla="*/ 34186 w 101"/>
                <a:gd name="T5" fmla="*/ 60168 h 101"/>
                <a:gd name="T6" fmla="*/ 53047 w 101"/>
                <a:gd name="T7" fmla="*/ 74691 h 101"/>
                <a:gd name="T8" fmla="*/ 53047 w 101"/>
                <a:gd name="T9" fmla="*/ 90252 h 101"/>
                <a:gd name="T10" fmla="*/ 68372 w 101"/>
                <a:gd name="T11" fmla="*/ 74691 h 101"/>
                <a:gd name="T12" fmla="*/ 68372 w 101"/>
                <a:gd name="T13" fmla="*/ 60168 h 101"/>
                <a:gd name="T14" fmla="*/ 87234 w 101"/>
                <a:gd name="T15" fmla="*/ 44607 h 101"/>
                <a:gd name="T16" fmla="*/ 102558 w 101"/>
                <a:gd name="T17" fmla="*/ 44607 h 101"/>
                <a:gd name="T18" fmla="*/ 102558 w 101"/>
                <a:gd name="T19" fmla="*/ 30084 h 101"/>
                <a:gd name="T20" fmla="*/ 119062 w 101"/>
                <a:gd name="T21" fmla="*/ 15561 h 101"/>
                <a:gd name="T22" fmla="*/ 119062 w 101"/>
                <a:gd name="T23" fmla="*/ 0 h 101"/>
                <a:gd name="T24" fmla="*/ 102558 w 101"/>
                <a:gd name="T25" fmla="*/ 15561 h 101"/>
                <a:gd name="T26" fmla="*/ 87234 w 101"/>
                <a:gd name="T27" fmla="*/ 15561 h 101"/>
                <a:gd name="T28" fmla="*/ 53047 w 101"/>
                <a:gd name="T29" fmla="*/ 15561 h 101"/>
                <a:gd name="T30" fmla="*/ 53047 w 101"/>
                <a:gd name="T31" fmla="*/ 44607 h 101"/>
                <a:gd name="T32" fmla="*/ 34186 w 101"/>
                <a:gd name="T33" fmla="*/ 30084 h 101"/>
                <a:gd name="T34" fmla="*/ 34186 w 101"/>
                <a:gd name="T35" fmla="*/ 15561 h 101"/>
                <a:gd name="T36" fmla="*/ 18861 w 101"/>
                <a:gd name="T37" fmla="*/ 30084 h 101"/>
                <a:gd name="T38" fmla="*/ 18861 w 101"/>
                <a:gd name="T39" fmla="*/ 44607 h 101"/>
                <a:gd name="T40" fmla="*/ 0 w 101"/>
                <a:gd name="T41" fmla="*/ 74691 h 101"/>
                <a:gd name="T42" fmla="*/ 0 w 101"/>
                <a:gd name="T43" fmla="*/ 90252 h 101"/>
                <a:gd name="T44" fmla="*/ 0 w 101"/>
                <a:gd name="T45" fmla="*/ 104775 h 101"/>
                <a:gd name="T46" fmla="*/ 0 w 101"/>
                <a:gd name="T47" fmla="*/ 104775 h 101"/>
                <a:gd name="T48" fmla="*/ 0 w 101"/>
                <a:gd name="T49" fmla="*/ 104775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close/>
                </a:path>
              </a:pathLst>
            </a:custGeom>
            <a:grpFill/>
            <a:ln w="3175" cmpd="sng">
              <a:solidFill>
                <a:schemeClr val="bg1"/>
              </a:solidFill>
              <a:round/>
              <a:headEnd/>
              <a:tailEnd/>
            </a:ln>
          </p:spPr>
          <p:txBody>
            <a:bodyPr/>
            <a:lstStyle/>
            <a:p>
              <a:endParaRPr lang="da-DK"/>
            </a:p>
          </p:txBody>
        </p:sp>
        <p:sp>
          <p:nvSpPr>
            <p:cNvPr id="84" name="Freeform 1120">
              <a:extLst>
                <a:ext uri="{FF2B5EF4-FFF2-40B4-BE49-F238E27FC236}">
                  <a16:creationId xmlns:a16="http://schemas.microsoft.com/office/drawing/2014/main" id="{3D35AB95-86BC-F110-FA90-89FAF313E87D}"/>
                </a:ext>
              </a:extLst>
            </p:cNvPr>
            <p:cNvSpPr>
              <a:spLocks/>
            </p:cNvSpPr>
            <p:nvPr>
              <p:custDataLst>
                <p:tags r:id="rId63"/>
              </p:custDataLst>
            </p:nvPr>
          </p:nvSpPr>
          <p:spPr bwMode="auto">
            <a:xfrm>
              <a:off x="3525678" y="2488466"/>
              <a:ext cx="64611" cy="85169"/>
            </a:xfrm>
            <a:custGeom>
              <a:avLst/>
              <a:gdLst>
                <a:gd name="T0" fmla="*/ 52990 w 58"/>
                <a:gd name="T1" fmla="*/ 60661 h 85"/>
                <a:gd name="T2" fmla="*/ 52990 w 58"/>
                <a:gd name="T3" fmla="*/ 47662 h 85"/>
                <a:gd name="T4" fmla="*/ 52990 w 58"/>
                <a:gd name="T5" fmla="*/ 31414 h 85"/>
                <a:gd name="T6" fmla="*/ 69850 w 58"/>
                <a:gd name="T7" fmla="*/ 16249 h 85"/>
                <a:gd name="T8" fmla="*/ 69850 w 58"/>
                <a:gd name="T9" fmla="*/ 0 h 85"/>
                <a:gd name="T10" fmla="*/ 52990 w 58"/>
                <a:gd name="T11" fmla="*/ 16249 h 85"/>
                <a:gd name="T12" fmla="*/ 34925 w 58"/>
                <a:gd name="T13" fmla="*/ 31414 h 85"/>
                <a:gd name="T14" fmla="*/ 34925 w 58"/>
                <a:gd name="T15" fmla="*/ 16249 h 85"/>
                <a:gd name="T16" fmla="*/ 34925 w 58"/>
                <a:gd name="T17" fmla="*/ 0 h 85"/>
                <a:gd name="T18" fmla="*/ 0 w 58"/>
                <a:gd name="T19" fmla="*/ 16249 h 85"/>
                <a:gd name="T20" fmla="*/ 0 w 58"/>
                <a:gd name="T21" fmla="*/ 31414 h 85"/>
                <a:gd name="T22" fmla="*/ 0 w 58"/>
                <a:gd name="T23" fmla="*/ 47662 h 85"/>
                <a:gd name="T24" fmla="*/ 34925 w 58"/>
                <a:gd name="T25" fmla="*/ 31414 h 85"/>
                <a:gd name="T26" fmla="*/ 18065 w 58"/>
                <a:gd name="T27" fmla="*/ 60661 h 85"/>
                <a:gd name="T28" fmla="*/ 34925 w 58"/>
                <a:gd name="T29" fmla="*/ 77993 h 85"/>
                <a:gd name="T30" fmla="*/ 34925 w 58"/>
                <a:gd name="T31" fmla="*/ 92075 h 85"/>
                <a:gd name="T32" fmla="*/ 52990 w 58"/>
                <a:gd name="T33" fmla="*/ 60661 h 85"/>
                <a:gd name="T34" fmla="*/ 52990 w 58"/>
                <a:gd name="T35" fmla="*/ 60661 h 85"/>
                <a:gd name="T36" fmla="*/ 52990 w 58"/>
                <a:gd name="T37" fmla="*/ 6066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close/>
                </a:path>
              </a:pathLst>
            </a:custGeom>
            <a:grpFill/>
            <a:ln w="3175" cmpd="sng">
              <a:solidFill>
                <a:schemeClr val="bg1"/>
              </a:solidFill>
              <a:round/>
              <a:headEnd/>
              <a:tailEnd/>
            </a:ln>
          </p:spPr>
          <p:txBody>
            <a:bodyPr/>
            <a:lstStyle/>
            <a:p>
              <a:endParaRPr lang="da-DK"/>
            </a:p>
          </p:txBody>
        </p:sp>
        <p:sp>
          <p:nvSpPr>
            <p:cNvPr id="85" name="Freeform 1122">
              <a:extLst>
                <a:ext uri="{FF2B5EF4-FFF2-40B4-BE49-F238E27FC236}">
                  <a16:creationId xmlns:a16="http://schemas.microsoft.com/office/drawing/2014/main" id="{B4F847D6-7867-313D-B1CD-1DE31DAA4473}"/>
                </a:ext>
              </a:extLst>
            </p:cNvPr>
            <p:cNvSpPr>
              <a:spLocks/>
            </p:cNvSpPr>
            <p:nvPr>
              <p:custDataLst>
                <p:tags r:id="rId64"/>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16094 w 29"/>
                <a:gd name="T23" fmla="*/ 4921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close/>
                </a:path>
              </a:pathLst>
            </a:custGeom>
            <a:grpFill/>
            <a:ln w="3175" cmpd="sng">
              <a:solidFill>
                <a:schemeClr val="bg1"/>
              </a:solidFill>
              <a:round/>
              <a:headEnd/>
              <a:tailEnd/>
            </a:ln>
          </p:spPr>
          <p:txBody>
            <a:bodyPr/>
            <a:lstStyle/>
            <a:p>
              <a:endParaRPr lang="da-DK"/>
            </a:p>
          </p:txBody>
        </p:sp>
        <p:sp>
          <p:nvSpPr>
            <p:cNvPr id="86" name="Freeform 1123">
              <a:extLst>
                <a:ext uri="{FF2B5EF4-FFF2-40B4-BE49-F238E27FC236}">
                  <a16:creationId xmlns:a16="http://schemas.microsoft.com/office/drawing/2014/main" id="{ABD9D1FD-F8A9-492E-0CED-D9B1DFD2B872}"/>
                </a:ext>
              </a:extLst>
            </p:cNvPr>
            <p:cNvSpPr>
              <a:spLocks/>
            </p:cNvSpPr>
            <p:nvPr>
              <p:custDataLst>
                <p:tags r:id="rId65"/>
              </p:custDataLst>
            </p:nvPr>
          </p:nvSpPr>
          <p:spPr bwMode="auto">
            <a:xfrm>
              <a:off x="3512464" y="2641183"/>
              <a:ext cx="30837" cy="45521"/>
            </a:xfrm>
            <a:custGeom>
              <a:avLst/>
              <a:gdLst>
                <a:gd name="T0" fmla="*/ 16094 w 29"/>
                <a:gd name="T1" fmla="*/ 49212 h 45"/>
                <a:gd name="T2" fmla="*/ 16094 w 29"/>
                <a:gd name="T3" fmla="*/ 31714 h 45"/>
                <a:gd name="T4" fmla="*/ 0 w 29"/>
                <a:gd name="T5" fmla="*/ 31714 h 45"/>
                <a:gd name="T6" fmla="*/ 16094 w 29"/>
                <a:gd name="T7" fmla="*/ 16404 h 45"/>
                <a:gd name="T8" fmla="*/ 16094 w 29"/>
                <a:gd name="T9" fmla="*/ 0 h 45"/>
                <a:gd name="T10" fmla="*/ 0 w 29"/>
                <a:gd name="T11" fmla="*/ 0 h 45"/>
                <a:gd name="T12" fmla="*/ 33337 w 29"/>
                <a:gd name="T13" fmla="*/ 16404 h 45"/>
                <a:gd name="T14" fmla="*/ 33337 w 29"/>
                <a:gd name="T15" fmla="*/ 31714 h 45"/>
                <a:gd name="T16" fmla="*/ 16094 w 29"/>
                <a:gd name="T17" fmla="*/ 31714 h 45"/>
                <a:gd name="T18" fmla="*/ 16094 w 29"/>
                <a:gd name="T19" fmla="*/ 49212 h 45"/>
                <a:gd name="T20" fmla="*/ 16094 w 29"/>
                <a:gd name="T21" fmla="*/ 492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path>
              </a:pathLst>
            </a:custGeom>
            <a:grpFill/>
            <a:ln w="3175" cmpd="sng">
              <a:solidFill>
                <a:schemeClr val="bg1"/>
              </a:solidFill>
              <a:prstDash val="solid"/>
              <a:round/>
              <a:headEnd/>
              <a:tailEnd/>
            </a:ln>
          </p:spPr>
          <p:txBody>
            <a:bodyPr/>
            <a:lstStyle/>
            <a:p>
              <a:endParaRPr lang="da-DK"/>
            </a:p>
          </p:txBody>
        </p:sp>
        <p:sp>
          <p:nvSpPr>
            <p:cNvPr id="87" name="Freeform 1126">
              <a:extLst>
                <a:ext uri="{FF2B5EF4-FFF2-40B4-BE49-F238E27FC236}">
                  <a16:creationId xmlns:a16="http://schemas.microsoft.com/office/drawing/2014/main" id="{428E064C-7575-395A-381A-4BBA9236DBDD}"/>
                </a:ext>
              </a:extLst>
            </p:cNvPr>
            <p:cNvSpPr>
              <a:spLocks/>
            </p:cNvSpPr>
            <p:nvPr>
              <p:custDataLst>
                <p:tags r:id="rId66"/>
              </p:custDataLst>
            </p:nvPr>
          </p:nvSpPr>
          <p:spPr bwMode="auto">
            <a:xfrm>
              <a:off x="5196761" y="4498757"/>
              <a:ext cx="343614" cy="209987"/>
            </a:xfrm>
            <a:custGeom>
              <a:avLst/>
              <a:gdLst>
                <a:gd name="T0" fmla="*/ 282644 w 276"/>
                <a:gd name="T1" fmla="*/ 150446 h 169"/>
                <a:gd name="T2" fmla="*/ 262455 w 276"/>
                <a:gd name="T3" fmla="*/ 155820 h 169"/>
                <a:gd name="T4" fmla="*/ 244958 w 276"/>
                <a:gd name="T5" fmla="*/ 151790 h 169"/>
                <a:gd name="T6" fmla="*/ 212656 w 276"/>
                <a:gd name="T7" fmla="*/ 167909 h 169"/>
                <a:gd name="T8" fmla="*/ 205926 w 276"/>
                <a:gd name="T9" fmla="*/ 188058 h 169"/>
                <a:gd name="T10" fmla="*/ 168240 w 276"/>
                <a:gd name="T11" fmla="*/ 197461 h 169"/>
                <a:gd name="T12" fmla="*/ 133246 w 276"/>
                <a:gd name="T13" fmla="*/ 214924 h 169"/>
                <a:gd name="T14" fmla="*/ 110366 w 276"/>
                <a:gd name="T15" fmla="*/ 221640 h 169"/>
                <a:gd name="T16" fmla="*/ 68642 w 276"/>
                <a:gd name="T17" fmla="*/ 213580 h 169"/>
                <a:gd name="T18" fmla="*/ 90177 w 276"/>
                <a:gd name="T19" fmla="*/ 200148 h 169"/>
                <a:gd name="T20" fmla="*/ 75372 w 276"/>
                <a:gd name="T21" fmla="*/ 186715 h 169"/>
                <a:gd name="T22" fmla="*/ 55183 w 276"/>
                <a:gd name="T23" fmla="*/ 209550 h 169"/>
                <a:gd name="T24" fmla="*/ 39032 w 276"/>
                <a:gd name="T25" fmla="*/ 196118 h 169"/>
                <a:gd name="T26" fmla="*/ 45761 w 276"/>
                <a:gd name="T27" fmla="*/ 157163 h 169"/>
                <a:gd name="T28" fmla="*/ 21535 w 276"/>
                <a:gd name="T29" fmla="*/ 162536 h 169"/>
                <a:gd name="T30" fmla="*/ 0 w 276"/>
                <a:gd name="T31" fmla="*/ 120894 h 169"/>
                <a:gd name="T32" fmla="*/ 32302 w 276"/>
                <a:gd name="T33" fmla="*/ 94029 h 169"/>
                <a:gd name="T34" fmla="*/ 13459 w 276"/>
                <a:gd name="T35" fmla="*/ 48358 h 169"/>
                <a:gd name="T36" fmla="*/ 117095 w 276"/>
                <a:gd name="T37" fmla="*/ 51044 h 169"/>
                <a:gd name="T38" fmla="*/ 139976 w 276"/>
                <a:gd name="T39" fmla="*/ 36268 h 169"/>
                <a:gd name="T40" fmla="*/ 164203 w 276"/>
                <a:gd name="T41" fmla="*/ 29552 h 169"/>
                <a:gd name="T42" fmla="*/ 199197 w 276"/>
                <a:gd name="T43" fmla="*/ 20149 h 169"/>
                <a:gd name="T44" fmla="*/ 224769 w 276"/>
                <a:gd name="T45" fmla="*/ 13433 h 169"/>
                <a:gd name="T46" fmla="*/ 248996 w 276"/>
                <a:gd name="T47" fmla="*/ 17463 h 169"/>
                <a:gd name="T48" fmla="*/ 288028 w 276"/>
                <a:gd name="T49" fmla="*/ 6716 h 169"/>
                <a:gd name="T50" fmla="*/ 312254 w 276"/>
                <a:gd name="T51" fmla="*/ 0 h 169"/>
                <a:gd name="T52" fmla="*/ 316292 w 276"/>
                <a:gd name="T53" fmla="*/ 16119 h 169"/>
                <a:gd name="T54" fmla="*/ 339173 w 276"/>
                <a:gd name="T55" fmla="*/ 10746 h 169"/>
                <a:gd name="T56" fmla="*/ 366091 w 276"/>
                <a:gd name="T57" fmla="*/ 12089 h 169"/>
                <a:gd name="T58" fmla="*/ 368783 w 276"/>
                <a:gd name="T59" fmla="*/ 25522 h 169"/>
                <a:gd name="T60" fmla="*/ 347248 w 276"/>
                <a:gd name="T61" fmla="*/ 41641 h 169"/>
                <a:gd name="T62" fmla="*/ 351286 w 276"/>
                <a:gd name="T63" fmla="*/ 57761 h 169"/>
                <a:gd name="T64" fmla="*/ 366091 w 276"/>
                <a:gd name="T65" fmla="*/ 61791 h 169"/>
                <a:gd name="T66" fmla="*/ 351286 w 276"/>
                <a:gd name="T67" fmla="*/ 107462 h 169"/>
                <a:gd name="T68" fmla="*/ 339173 w 276"/>
                <a:gd name="T69" fmla="*/ 103432 h 169"/>
                <a:gd name="T70" fmla="*/ 312254 w 276"/>
                <a:gd name="T71" fmla="*/ 100745 h 169"/>
                <a:gd name="T72" fmla="*/ 317638 w 276"/>
                <a:gd name="T73" fmla="*/ 123581 h 169"/>
                <a:gd name="T74" fmla="*/ 324368 w 276"/>
                <a:gd name="T75" fmla="*/ 147760 h 169"/>
                <a:gd name="T76" fmla="*/ 336481 w 276"/>
                <a:gd name="T77" fmla="*/ 14373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6" h="169">
                  <a:moveTo>
                    <a:pt x="250" y="107"/>
                  </a:moveTo>
                  <a:lnTo>
                    <a:pt x="210" y="112"/>
                  </a:lnTo>
                  <a:lnTo>
                    <a:pt x="202" y="107"/>
                  </a:lnTo>
                  <a:lnTo>
                    <a:pt x="195" y="116"/>
                  </a:lnTo>
                  <a:lnTo>
                    <a:pt x="183" y="119"/>
                  </a:lnTo>
                  <a:lnTo>
                    <a:pt x="182" y="113"/>
                  </a:lnTo>
                  <a:lnTo>
                    <a:pt x="168" y="123"/>
                  </a:lnTo>
                  <a:lnTo>
                    <a:pt x="158" y="125"/>
                  </a:lnTo>
                  <a:lnTo>
                    <a:pt x="160" y="131"/>
                  </a:lnTo>
                  <a:lnTo>
                    <a:pt x="153" y="140"/>
                  </a:lnTo>
                  <a:lnTo>
                    <a:pt x="142" y="143"/>
                  </a:lnTo>
                  <a:lnTo>
                    <a:pt x="125" y="147"/>
                  </a:lnTo>
                  <a:lnTo>
                    <a:pt x="119" y="161"/>
                  </a:lnTo>
                  <a:lnTo>
                    <a:pt x="99" y="160"/>
                  </a:lnTo>
                  <a:lnTo>
                    <a:pt x="80" y="159"/>
                  </a:lnTo>
                  <a:lnTo>
                    <a:pt x="82" y="165"/>
                  </a:lnTo>
                  <a:lnTo>
                    <a:pt x="64" y="169"/>
                  </a:lnTo>
                  <a:lnTo>
                    <a:pt x="51" y="159"/>
                  </a:lnTo>
                  <a:lnTo>
                    <a:pt x="61" y="157"/>
                  </a:lnTo>
                  <a:lnTo>
                    <a:pt x="67" y="149"/>
                  </a:lnTo>
                  <a:lnTo>
                    <a:pt x="66" y="143"/>
                  </a:lnTo>
                  <a:lnTo>
                    <a:pt x="56" y="139"/>
                  </a:lnTo>
                  <a:lnTo>
                    <a:pt x="48" y="148"/>
                  </a:lnTo>
                  <a:lnTo>
                    <a:pt x="41" y="156"/>
                  </a:lnTo>
                  <a:lnTo>
                    <a:pt x="31" y="152"/>
                  </a:lnTo>
                  <a:lnTo>
                    <a:pt x="29" y="146"/>
                  </a:lnTo>
                  <a:lnTo>
                    <a:pt x="37" y="138"/>
                  </a:lnTo>
                  <a:lnTo>
                    <a:pt x="34" y="117"/>
                  </a:lnTo>
                  <a:lnTo>
                    <a:pt x="25" y="126"/>
                  </a:lnTo>
                  <a:lnTo>
                    <a:pt x="16" y="121"/>
                  </a:lnTo>
                  <a:lnTo>
                    <a:pt x="24" y="112"/>
                  </a:lnTo>
                  <a:lnTo>
                    <a:pt x="0" y="90"/>
                  </a:lnTo>
                  <a:lnTo>
                    <a:pt x="19" y="81"/>
                  </a:lnTo>
                  <a:lnTo>
                    <a:pt x="24" y="70"/>
                  </a:lnTo>
                  <a:lnTo>
                    <a:pt x="9" y="55"/>
                  </a:lnTo>
                  <a:lnTo>
                    <a:pt x="10" y="36"/>
                  </a:lnTo>
                  <a:lnTo>
                    <a:pt x="78" y="41"/>
                  </a:lnTo>
                  <a:lnTo>
                    <a:pt x="87" y="38"/>
                  </a:lnTo>
                  <a:lnTo>
                    <a:pt x="94" y="29"/>
                  </a:lnTo>
                  <a:lnTo>
                    <a:pt x="104" y="27"/>
                  </a:lnTo>
                  <a:lnTo>
                    <a:pt x="124" y="29"/>
                  </a:lnTo>
                  <a:lnTo>
                    <a:pt x="122" y="22"/>
                  </a:lnTo>
                  <a:lnTo>
                    <a:pt x="140" y="17"/>
                  </a:lnTo>
                  <a:lnTo>
                    <a:pt x="148" y="15"/>
                  </a:lnTo>
                  <a:lnTo>
                    <a:pt x="156" y="13"/>
                  </a:lnTo>
                  <a:lnTo>
                    <a:pt x="167" y="10"/>
                  </a:lnTo>
                  <a:lnTo>
                    <a:pt x="178" y="15"/>
                  </a:lnTo>
                  <a:lnTo>
                    <a:pt x="185" y="13"/>
                  </a:lnTo>
                  <a:lnTo>
                    <a:pt x="203" y="8"/>
                  </a:lnTo>
                  <a:lnTo>
                    <a:pt x="214" y="5"/>
                  </a:lnTo>
                  <a:lnTo>
                    <a:pt x="222" y="3"/>
                  </a:lnTo>
                  <a:lnTo>
                    <a:pt x="232" y="0"/>
                  </a:lnTo>
                  <a:lnTo>
                    <a:pt x="233" y="5"/>
                  </a:lnTo>
                  <a:lnTo>
                    <a:pt x="235" y="12"/>
                  </a:lnTo>
                  <a:lnTo>
                    <a:pt x="243" y="10"/>
                  </a:lnTo>
                  <a:lnTo>
                    <a:pt x="252" y="8"/>
                  </a:lnTo>
                  <a:lnTo>
                    <a:pt x="261" y="5"/>
                  </a:lnTo>
                  <a:lnTo>
                    <a:pt x="272" y="9"/>
                  </a:lnTo>
                  <a:lnTo>
                    <a:pt x="273" y="15"/>
                  </a:lnTo>
                  <a:lnTo>
                    <a:pt x="274" y="19"/>
                  </a:lnTo>
                  <a:lnTo>
                    <a:pt x="276" y="26"/>
                  </a:lnTo>
                  <a:lnTo>
                    <a:pt x="258" y="31"/>
                  </a:lnTo>
                  <a:lnTo>
                    <a:pt x="259" y="37"/>
                  </a:lnTo>
                  <a:lnTo>
                    <a:pt x="261" y="43"/>
                  </a:lnTo>
                  <a:lnTo>
                    <a:pt x="270" y="40"/>
                  </a:lnTo>
                  <a:lnTo>
                    <a:pt x="272" y="46"/>
                  </a:lnTo>
                  <a:lnTo>
                    <a:pt x="276" y="63"/>
                  </a:lnTo>
                  <a:lnTo>
                    <a:pt x="261" y="80"/>
                  </a:lnTo>
                  <a:lnTo>
                    <a:pt x="253" y="82"/>
                  </a:lnTo>
                  <a:lnTo>
                    <a:pt x="252" y="77"/>
                  </a:lnTo>
                  <a:lnTo>
                    <a:pt x="241" y="73"/>
                  </a:lnTo>
                  <a:lnTo>
                    <a:pt x="232" y="75"/>
                  </a:lnTo>
                  <a:lnTo>
                    <a:pt x="223" y="84"/>
                  </a:lnTo>
                  <a:lnTo>
                    <a:pt x="236" y="92"/>
                  </a:lnTo>
                  <a:lnTo>
                    <a:pt x="240" y="104"/>
                  </a:lnTo>
                  <a:lnTo>
                    <a:pt x="241" y="110"/>
                  </a:lnTo>
                  <a:lnTo>
                    <a:pt x="250" y="107"/>
                  </a:lnTo>
                  <a:close/>
                </a:path>
              </a:pathLst>
            </a:custGeom>
            <a:grpFill/>
            <a:ln w="3175" cmpd="sng">
              <a:solidFill>
                <a:schemeClr val="bg1"/>
              </a:solidFill>
              <a:round/>
              <a:headEnd/>
              <a:tailEnd/>
            </a:ln>
          </p:spPr>
          <p:txBody>
            <a:bodyPr/>
            <a:lstStyle/>
            <a:p>
              <a:endParaRPr lang="da-DK"/>
            </a:p>
          </p:txBody>
        </p:sp>
        <p:grpSp>
          <p:nvGrpSpPr>
            <p:cNvPr id="88" name="Group 1127">
              <a:extLst>
                <a:ext uri="{FF2B5EF4-FFF2-40B4-BE49-F238E27FC236}">
                  <a16:creationId xmlns:a16="http://schemas.microsoft.com/office/drawing/2014/main" id="{EC0ADE09-C390-8609-0154-B0B2196DF979}"/>
                </a:ext>
              </a:extLst>
            </p:cNvPr>
            <p:cNvGrpSpPr>
              <a:grpSpLocks/>
            </p:cNvGrpSpPr>
            <p:nvPr>
              <p:custDataLst>
                <p:tags r:id="rId67"/>
              </p:custDataLst>
            </p:nvPr>
          </p:nvGrpSpPr>
          <p:grpSpPr bwMode="auto">
            <a:xfrm>
              <a:off x="5082223" y="3851176"/>
              <a:ext cx="1208525" cy="531574"/>
              <a:chOff x="4320" y="2688"/>
              <a:chExt cx="693" cy="305"/>
            </a:xfrm>
            <a:grpFill/>
          </p:grpSpPr>
          <p:sp>
            <p:nvSpPr>
              <p:cNvPr id="101" name="Freeform 1128">
                <a:extLst>
                  <a:ext uri="{FF2B5EF4-FFF2-40B4-BE49-F238E27FC236}">
                    <a16:creationId xmlns:a16="http://schemas.microsoft.com/office/drawing/2014/main" id="{CED4AA5C-E3FB-06A1-10D4-6A0AC729247E}"/>
                  </a:ext>
                </a:extLst>
              </p:cNvPr>
              <p:cNvSpPr>
                <a:spLocks/>
              </p:cNvSpPr>
              <p:nvPr/>
            </p:nvSpPr>
            <p:spPr bwMode="auto">
              <a:xfrm>
                <a:off x="4320" y="2688"/>
                <a:ext cx="693" cy="305"/>
              </a:xfrm>
              <a:custGeom>
                <a:avLst/>
                <a:gdLst>
                  <a:gd name="T0" fmla="*/ 665 w 1107"/>
                  <a:gd name="T1" fmla="*/ 221 h 538"/>
                  <a:gd name="T2" fmla="*/ 682 w 1107"/>
                  <a:gd name="T3" fmla="*/ 204 h 538"/>
                  <a:gd name="T4" fmla="*/ 693 w 1107"/>
                  <a:gd name="T5" fmla="*/ 183 h 538"/>
                  <a:gd name="T6" fmla="*/ 668 w 1107"/>
                  <a:gd name="T7" fmla="*/ 171 h 538"/>
                  <a:gd name="T8" fmla="*/ 641 w 1107"/>
                  <a:gd name="T9" fmla="*/ 154 h 538"/>
                  <a:gd name="T10" fmla="*/ 614 w 1107"/>
                  <a:gd name="T11" fmla="*/ 128 h 538"/>
                  <a:gd name="T12" fmla="*/ 568 w 1107"/>
                  <a:gd name="T13" fmla="*/ 154 h 538"/>
                  <a:gd name="T14" fmla="*/ 560 w 1107"/>
                  <a:gd name="T15" fmla="*/ 134 h 538"/>
                  <a:gd name="T16" fmla="*/ 523 w 1107"/>
                  <a:gd name="T17" fmla="*/ 138 h 538"/>
                  <a:gd name="T18" fmla="*/ 513 w 1107"/>
                  <a:gd name="T19" fmla="*/ 138 h 538"/>
                  <a:gd name="T20" fmla="*/ 488 w 1107"/>
                  <a:gd name="T21" fmla="*/ 138 h 538"/>
                  <a:gd name="T22" fmla="*/ 451 w 1107"/>
                  <a:gd name="T23" fmla="*/ 138 h 538"/>
                  <a:gd name="T24" fmla="*/ 425 w 1107"/>
                  <a:gd name="T25" fmla="*/ 113 h 538"/>
                  <a:gd name="T26" fmla="*/ 379 w 1107"/>
                  <a:gd name="T27" fmla="*/ 97 h 538"/>
                  <a:gd name="T28" fmla="*/ 342 w 1107"/>
                  <a:gd name="T29" fmla="*/ 73 h 538"/>
                  <a:gd name="T30" fmla="*/ 324 w 1107"/>
                  <a:gd name="T31" fmla="*/ 81 h 538"/>
                  <a:gd name="T32" fmla="*/ 307 w 1107"/>
                  <a:gd name="T33" fmla="*/ 97 h 538"/>
                  <a:gd name="T34" fmla="*/ 270 w 1107"/>
                  <a:gd name="T35" fmla="*/ 73 h 538"/>
                  <a:gd name="T36" fmla="*/ 279 w 1107"/>
                  <a:gd name="T37" fmla="*/ 49 h 538"/>
                  <a:gd name="T38" fmla="*/ 234 w 1107"/>
                  <a:gd name="T39" fmla="*/ 41 h 538"/>
                  <a:gd name="T40" fmla="*/ 216 w 1107"/>
                  <a:gd name="T41" fmla="*/ 24 h 538"/>
                  <a:gd name="T42" fmla="*/ 208 w 1107"/>
                  <a:gd name="T43" fmla="*/ 0 h 538"/>
                  <a:gd name="T44" fmla="*/ 181 w 1107"/>
                  <a:gd name="T45" fmla="*/ 16 h 538"/>
                  <a:gd name="T46" fmla="*/ 163 w 1107"/>
                  <a:gd name="T47" fmla="*/ 0 h 538"/>
                  <a:gd name="T48" fmla="*/ 126 w 1107"/>
                  <a:gd name="T49" fmla="*/ 24 h 538"/>
                  <a:gd name="T50" fmla="*/ 80 w 1107"/>
                  <a:gd name="T51" fmla="*/ 49 h 538"/>
                  <a:gd name="T52" fmla="*/ 35 w 1107"/>
                  <a:gd name="T53" fmla="*/ 56 h 538"/>
                  <a:gd name="T54" fmla="*/ 8 w 1107"/>
                  <a:gd name="T55" fmla="*/ 49 h 538"/>
                  <a:gd name="T56" fmla="*/ 8 w 1107"/>
                  <a:gd name="T57" fmla="*/ 73 h 538"/>
                  <a:gd name="T58" fmla="*/ 27 w 1107"/>
                  <a:gd name="T59" fmla="*/ 97 h 538"/>
                  <a:gd name="T60" fmla="*/ 35 w 1107"/>
                  <a:gd name="T61" fmla="*/ 130 h 538"/>
                  <a:gd name="T62" fmla="*/ 63 w 1107"/>
                  <a:gd name="T63" fmla="*/ 171 h 538"/>
                  <a:gd name="T64" fmla="*/ 88 w 1107"/>
                  <a:gd name="T65" fmla="*/ 188 h 538"/>
                  <a:gd name="T66" fmla="*/ 108 w 1107"/>
                  <a:gd name="T67" fmla="*/ 211 h 538"/>
                  <a:gd name="T68" fmla="*/ 143 w 1107"/>
                  <a:gd name="T69" fmla="*/ 219 h 538"/>
                  <a:gd name="T70" fmla="*/ 171 w 1107"/>
                  <a:gd name="T71" fmla="*/ 202 h 538"/>
                  <a:gd name="T72" fmla="*/ 198 w 1107"/>
                  <a:gd name="T73" fmla="*/ 195 h 538"/>
                  <a:gd name="T74" fmla="*/ 226 w 1107"/>
                  <a:gd name="T75" fmla="*/ 202 h 538"/>
                  <a:gd name="T76" fmla="*/ 257 w 1107"/>
                  <a:gd name="T77" fmla="*/ 211 h 538"/>
                  <a:gd name="T78" fmla="*/ 279 w 1107"/>
                  <a:gd name="T79" fmla="*/ 228 h 538"/>
                  <a:gd name="T80" fmla="*/ 304 w 1107"/>
                  <a:gd name="T81" fmla="*/ 236 h 538"/>
                  <a:gd name="T82" fmla="*/ 299 w 1107"/>
                  <a:gd name="T83" fmla="*/ 261 h 538"/>
                  <a:gd name="T84" fmla="*/ 334 w 1107"/>
                  <a:gd name="T85" fmla="*/ 285 h 538"/>
                  <a:gd name="T86" fmla="*/ 361 w 1107"/>
                  <a:gd name="T87" fmla="*/ 300 h 538"/>
                  <a:gd name="T88" fmla="*/ 397 w 1107"/>
                  <a:gd name="T89" fmla="*/ 300 h 538"/>
                  <a:gd name="T90" fmla="*/ 423 w 1107"/>
                  <a:gd name="T91" fmla="*/ 295 h 538"/>
                  <a:gd name="T92" fmla="*/ 438 w 1107"/>
                  <a:gd name="T93" fmla="*/ 278 h 538"/>
                  <a:gd name="T94" fmla="*/ 470 w 1107"/>
                  <a:gd name="T95" fmla="*/ 277 h 538"/>
                  <a:gd name="T96" fmla="*/ 505 w 1107"/>
                  <a:gd name="T97" fmla="*/ 261 h 538"/>
                  <a:gd name="T98" fmla="*/ 542 w 1107"/>
                  <a:gd name="T99" fmla="*/ 235 h 538"/>
                  <a:gd name="T100" fmla="*/ 560 w 1107"/>
                  <a:gd name="T101" fmla="*/ 219 h 538"/>
                  <a:gd name="T102" fmla="*/ 596 w 1107"/>
                  <a:gd name="T103" fmla="*/ 219 h 538"/>
                  <a:gd name="T104" fmla="*/ 606 w 1107"/>
                  <a:gd name="T105" fmla="*/ 228 h 538"/>
                  <a:gd name="T106" fmla="*/ 652 w 1107"/>
                  <a:gd name="T107" fmla="*/ 227 h 538"/>
                  <a:gd name="T108" fmla="*/ 665 w 1107"/>
                  <a:gd name="T109" fmla="*/ 241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07" h="538">
                    <a:moveTo>
                      <a:pt x="1063" y="425"/>
                    </a:moveTo>
                    <a:lnTo>
                      <a:pt x="1067" y="400"/>
                    </a:lnTo>
                    <a:lnTo>
                      <a:pt x="1063" y="390"/>
                    </a:lnTo>
                    <a:lnTo>
                      <a:pt x="1067" y="373"/>
                    </a:lnTo>
                    <a:lnTo>
                      <a:pt x="1076" y="359"/>
                    </a:lnTo>
                    <a:lnTo>
                      <a:pt x="1090" y="359"/>
                    </a:lnTo>
                    <a:lnTo>
                      <a:pt x="1084" y="344"/>
                    </a:lnTo>
                    <a:lnTo>
                      <a:pt x="1094" y="332"/>
                    </a:lnTo>
                    <a:lnTo>
                      <a:pt x="1107" y="322"/>
                    </a:lnTo>
                    <a:lnTo>
                      <a:pt x="1103" y="301"/>
                    </a:lnTo>
                    <a:lnTo>
                      <a:pt x="1080" y="301"/>
                    </a:lnTo>
                    <a:lnTo>
                      <a:pt x="1067" y="301"/>
                    </a:lnTo>
                    <a:lnTo>
                      <a:pt x="1053" y="301"/>
                    </a:lnTo>
                    <a:lnTo>
                      <a:pt x="1039" y="288"/>
                    </a:lnTo>
                    <a:lnTo>
                      <a:pt x="1024" y="272"/>
                    </a:lnTo>
                    <a:lnTo>
                      <a:pt x="1008" y="258"/>
                    </a:lnTo>
                    <a:lnTo>
                      <a:pt x="995" y="258"/>
                    </a:lnTo>
                    <a:lnTo>
                      <a:pt x="981" y="225"/>
                    </a:lnTo>
                    <a:lnTo>
                      <a:pt x="962" y="245"/>
                    </a:lnTo>
                    <a:lnTo>
                      <a:pt x="952" y="258"/>
                    </a:lnTo>
                    <a:lnTo>
                      <a:pt x="908" y="272"/>
                    </a:lnTo>
                    <a:lnTo>
                      <a:pt x="911" y="258"/>
                    </a:lnTo>
                    <a:lnTo>
                      <a:pt x="908" y="225"/>
                    </a:lnTo>
                    <a:lnTo>
                      <a:pt x="894" y="237"/>
                    </a:lnTo>
                    <a:lnTo>
                      <a:pt x="880" y="243"/>
                    </a:lnTo>
                    <a:lnTo>
                      <a:pt x="865" y="229"/>
                    </a:lnTo>
                    <a:lnTo>
                      <a:pt x="836" y="243"/>
                    </a:lnTo>
                    <a:lnTo>
                      <a:pt x="836" y="258"/>
                    </a:lnTo>
                    <a:lnTo>
                      <a:pt x="820" y="272"/>
                    </a:lnTo>
                    <a:lnTo>
                      <a:pt x="820" y="243"/>
                    </a:lnTo>
                    <a:lnTo>
                      <a:pt x="807" y="229"/>
                    </a:lnTo>
                    <a:lnTo>
                      <a:pt x="791" y="243"/>
                    </a:lnTo>
                    <a:lnTo>
                      <a:pt x="780" y="243"/>
                    </a:lnTo>
                    <a:lnTo>
                      <a:pt x="764" y="258"/>
                    </a:lnTo>
                    <a:lnTo>
                      <a:pt x="750" y="243"/>
                    </a:lnTo>
                    <a:lnTo>
                      <a:pt x="721" y="243"/>
                    </a:lnTo>
                    <a:lnTo>
                      <a:pt x="708" y="229"/>
                    </a:lnTo>
                    <a:lnTo>
                      <a:pt x="692" y="216"/>
                    </a:lnTo>
                    <a:lnTo>
                      <a:pt x="679" y="200"/>
                    </a:lnTo>
                    <a:lnTo>
                      <a:pt x="650" y="200"/>
                    </a:lnTo>
                    <a:lnTo>
                      <a:pt x="621" y="187"/>
                    </a:lnTo>
                    <a:lnTo>
                      <a:pt x="605" y="171"/>
                    </a:lnTo>
                    <a:lnTo>
                      <a:pt x="576" y="128"/>
                    </a:lnTo>
                    <a:lnTo>
                      <a:pt x="562" y="142"/>
                    </a:lnTo>
                    <a:lnTo>
                      <a:pt x="547" y="128"/>
                    </a:lnTo>
                    <a:lnTo>
                      <a:pt x="518" y="128"/>
                    </a:lnTo>
                    <a:lnTo>
                      <a:pt x="504" y="128"/>
                    </a:lnTo>
                    <a:lnTo>
                      <a:pt x="518" y="142"/>
                    </a:lnTo>
                    <a:lnTo>
                      <a:pt x="504" y="142"/>
                    </a:lnTo>
                    <a:lnTo>
                      <a:pt x="491" y="158"/>
                    </a:lnTo>
                    <a:lnTo>
                      <a:pt x="491" y="171"/>
                    </a:lnTo>
                    <a:lnTo>
                      <a:pt x="475" y="142"/>
                    </a:lnTo>
                    <a:lnTo>
                      <a:pt x="461" y="128"/>
                    </a:lnTo>
                    <a:lnTo>
                      <a:pt x="432" y="128"/>
                    </a:lnTo>
                    <a:lnTo>
                      <a:pt x="446" y="115"/>
                    </a:lnTo>
                    <a:lnTo>
                      <a:pt x="461" y="99"/>
                    </a:lnTo>
                    <a:lnTo>
                      <a:pt x="446" y="86"/>
                    </a:lnTo>
                    <a:lnTo>
                      <a:pt x="419" y="86"/>
                    </a:lnTo>
                    <a:lnTo>
                      <a:pt x="390" y="72"/>
                    </a:lnTo>
                    <a:lnTo>
                      <a:pt x="374" y="72"/>
                    </a:lnTo>
                    <a:lnTo>
                      <a:pt x="361" y="57"/>
                    </a:lnTo>
                    <a:lnTo>
                      <a:pt x="345" y="57"/>
                    </a:lnTo>
                    <a:lnTo>
                      <a:pt x="345" y="43"/>
                    </a:lnTo>
                    <a:lnTo>
                      <a:pt x="345" y="28"/>
                    </a:lnTo>
                    <a:lnTo>
                      <a:pt x="345" y="0"/>
                    </a:lnTo>
                    <a:lnTo>
                      <a:pt x="332" y="0"/>
                    </a:lnTo>
                    <a:lnTo>
                      <a:pt x="302" y="0"/>
                    </a:lnTo>
                    <a:lnTo>
                      <a:pt x="302" y="14"/>
                    </a:lnTo>
                    <a:lnTo>
                      <a:pt x="289" y="28"/>
                    </a:lnTo>
                    <a:lnTo>
                      <a:pt x="273" y="28"/>
                    </a:lnTo>
                    <a:lnTo>
                      <a:pt x="273" y="14"/>
                    </a:lnTo>
                    <a:lnTo>
                      <a:pt x="260" y="0"/>
                    </a:lnTo>
                    <a:lnTo>
                      <a:pt x="229" y="14"/>
                    </a:lnTo>
                    <a:lnTo>
                      <a:pt x="215" y="28"/>
                    </a:lnTo>
                    <a:lnTo>
                      <a:pt x="202" y="43"/>
                    </a:lnTo>
                    <a:lnTo>
                      <a:pt x="157" y="72"/>
                    </a:lnTo>
                    <a:lnTo>
                      <a:pt x="143" y="72"/>
                    </a:lnTo>
                    <a:lnTo>
                      <a:pt x="128" y="86"/>
                    </a:lnTo>
                    <a:lnTo>
                      <a:pt x="116" y="86"/>
                    </a:lnTo>
                    <a:lnTo>
                      <a:pt x="85" y="99"/>
                    </a:lnTo>
                    <a:lnTo>
                      <a:pt x="56" y="99"/>
                    </a:lnTo>
                    <a:lnTo>
                      <a:pt x="43" y="86"/>
                    </a:lnTo>
                    <a:lnTo>
                      <a:pt x="13" y="99"/>
                    </a:lnTo>
                    <a:lnTo>
                      <a:pt x="13" y="86"/>
                    </a:lnTo>
                    <a:lnTo>
                      <a:pt x="0" y="72"/>
                    </a:lnTo>
                    <a:lnTo>
                      <a:pt x="0" y="99"/>
                    </a:lnTo>
                    <a:lnTo>
                      <a:pt x="13" y="128"/>
                    </a:lnTo>
                    <a:lnTo>
                      <a:pt x="29" y="128"/>
                    </a:lnTo>
                    <a:lnTo>
                      <a:pt x="29" y="158"/>
                    </a:lnTo>
                    <a:lnTo>
                      <a:pt x="43" y="171"/>
                    </a:lnTo>
                    <a:lnTo>
                      <a:pt x="56" y="187"/>
                    </a:lnTo>
                    <a:lnTo>
                      <a:pt x="56" y="216"/>
                    </a:lnTo>
                    <a:lnTo>
                      <a:pt x="56" y="229"/>
                    </a:lnTo>
                    <a:lnTo>
                      <a:pt x="72" y="243"/>
                    </a:lnTo>
                    <a:lnTo>
                      <a:pt x="85" y="272"/>
                    </a:lnTo>
                    <a:lnTo>
                      <a:pt x="101" y="301"/>
                    </a:lnTo>
                    <a:lnTo>
                      <a:pt x="116" y="317"/>
                    </a:lnTo>
                    <a:lnTo>
                      <a:pt x="128" y="317"/>
                    </a:lnTo>
                    <a:lnTo>
                      <a:pt x="140" y="332"/>
                    </a:lnTo>
                    <a:lnTo>
                      <a:pt x="151" y="344"/>
                    </a:lnTo>
                    <a:lnTo>
                      <a:pt x="163" y="359"/>
                    </a:lnTo>
                    <a:lnTo>
                      <a:pt x="173" y="373"/>
                    </a:lnTo>
                    <a:lnTo>
                      <a:pt x="186" y="373"/>
                    </a:lnTo>
                    <a:lnTo>
                      <a:pt x="202" y="386"/>
                    </a:lnTo>
                    <a:lnTo>
                      <a:pt x="229" y="386"/>
                    </a:lnTo>
                    <a:lnTo>
                      <a:pt x="260" y="386"/>
                    </a:lnTo>
                    <a:lnTo>
                      <a:pt x="273" y="373"/>
                    </a:lnTo>
                    <a:lnTo>
                      <a:pt x="273" y="357"/>
                    </a:lnTo>
                    <a:lnTo>
                      <a:pt x="279" y="352"/>
                    </a:lnTo>
                    <a:lnTo>
                      <a:pt x="289" y="344"/>
                    </a:lnTo>
                    <a:lnTo>
                      <a:pt x="316" y="344"/>
                    </a:lnTo>
                    <a:lnTo>
                      <a:pt x="332" y="344"/>
                    </a:lnTo>
                    <a:lnTo>
                      <a:pt x="345" y="344"/>
                    </a:lnTo>
                    <a:lnTo>
                      <a:pt x="361" y="357"/>
                    </a:lnTo>
                    <a:lnTo>
                      <a:pt x="374" y="357"/>
                    </a:lnTo>
                    <a:lnTo>
                      <a:pt x="403" y="357"/>
                    </a:lnTo>
                    <a:lnTo>
                      <a:pt x="411" y="373"/>
                    </a:lnTo>
                    <a:lnTo>
                      <a:pt x="421" y="381"/>
                    </a:lnTo>
                    <a:lnTo>
                      <a:pt x="425" y="390"/>
                    </a:lnTo>
                    <a:lnTo>
                      <a:pt x="446" y="402"/>
                    </a:lnTo>
                    <a:lnTo>
                      <a:pt x="460" y="406"/>
                    </a:lnTo>
                    <a:lnTo>
                      <a:pt x="477" y="406"/>
                    </a:lnTo>
                    <a:lnTo>
                      <a:pt x="485" y="417"/>
                    </a:lnTo>
                    <a:lnTo>
                      <a:pt x="481" y="429"/>
                    </a:lnTo>
                    <a:lnTo>
                      <a:pt x="498" y="450"/>
                    </a:lnTo>
                    <a:lnTo>
                      <a:pt x="477" y="460"/>
                    </a:lnTo>
                    <a:lnTo>
                      <a:pt x="494" y="487"/>
                    </a:lnTo>
                    <a:lnTo>
                      <a:pt x="518" y="489"/>
                    </a:lnTo>
                    <a:lnTo>
                      <a:pt x="533" y="503"/>
                    </a:lnTo>
                    <a:lnTo>
                      <a:pt x="547" y="512"/>
                    </a:lnTo>
                    <a:lnTo>
                      <a:pt x="560" y="524"/>
                    </a:lnTo>
                    <a:lnTo>
                      <a:pt x="576" y="530"/>
                    </a:lnTo>
                    <a:lnTo>
                      <a:pt x="605" y="538"/>
                    </a:lnTo>
                    <a:lnTo>
                      <a:pt x="621" y="532"/>
                    </a:lnTo>
                    <a:lnTo>
                      <a:pt x="634" y="530"/>
                    </a:lnTo>
                    <a:lnTo>
                      <a:pt x="638" y="528"/>
                    </a:lnTo>
                    <a:lnTo>
                      <a:pt x="663" y="520"/>
                    </a:lnTo>
                    <a:lnTo>
                      <a:pt x="675" y="520"/>
                    </a:lnTo>
                    <a:lnTo>
                      <a:pt x="688" y="516"/>
                    </a:lnTo>
                    <a:lnTo>
                      <a:pt x="692" y="503"/>
                    </a:lnTo>
                    <a:lnTo>
                      <a:pt x="700" y="491"/>
                    </a:lnTo>
                    <a:lnTo>
                      <a:pt x="708" y="489"/>
                    </a:lnTo>
                    <a:lnTo>
                      <a:pt x="735" y="489"/>
                    </a:lnTo>
                    <a:lnTo>
                      <a:pt x="750" y="489"/>
                    </a:lnTo>
                    <a:lnTo>
                      <a:pt x="764" y="489"/>
                    </a:lnTo>
                    <a:lnTo>
                      <a:pt x="791" y="474"/>
                    </a:lnTo>
                    <a:lnTo>
                      <a:pt x="807" y="460"/>
                    </a:lnTo>
                    <a:lnTo>
                      <a:pt x="836" y="445"/>
                    </a:lnTo>
                    <a:lnTo>
                      <a:pt x="851" y="429"/>
                    </a:lnTo>
                    <a:lnTo>
                      <a:pt x="865" y="415"/>
                    </a:lnTo>
                    <a:lnTo>
                      <a:pt x="865" y="402"/>
                    </a:lnTo>
                    <a:lnTo>
                      <a:pt x="880" y="386"/>
                    </a:lnTo>
                    <a:lnTo>
                      <a:pt x="894" y="386"/>
                    </a:lnTo>
                    <a:lnTo>
                      <a:pt x="908" y="386"/>
                    </a:lnTo>
                    <a:lnTo>
                      <a:pt x="939" y="386"/>
                    </a:lnTo>
                    <a:lnTo>
                      <a:pt x="952" y="386"/>
                    </a:lnTo>
                    <a:lnTo>
                      <a:pt x="958" y="390"/>
                    </a:lnTo>
                    <a:lnTo>
                      <a:pt x="968" y="390"/>
                    </a:lnTo>
                    <a:lnTo>
                      <a:pt x="968" y="402"/>
                    </a:lnTo>
                    <a:lnTo>
                      <a:pt x="995" y="402"/>
                    </a:lnTo>
                    <a:lnTo>
                      <a:pt x="1008" y="415"/>
                    </a:lnTo>
                    <a:lnTo>
                      <a:pt x="1041" y="400"/>
                    </a:lnTo>
                    <a:lnTo>
                      <a:pt x="1063" y="425"/>
                    </a:lnTo>
                    <a:close/>
                  </a:path>
                </a:pathLst>
              </a:custGeom>
              <a:grpFill/>
              <a:ln w="3175" cmpd="sng">
                <a:solidFill>
                  <a:schemeClr val="bg1"/>
                </a:solidFill>
                <a:round/>
                <a:headEnd/>
                <a:tailEnd/>
              </a:ln>
            </p:spPr>
            <p:txBody>
              <a:bodyPr/>
              <a:lstStyle/>
              <a:p>
                <a:endParaRPr lang="da-DK"/>
              </a:p>
            </p:txBody>
          </p:sp>
          <p:sp>
            <p:nvSpPr>
              <p:cNvPr id="102" name="Freeform 1129">
                <a:extLst>
                  <a:ext uri="{FF2B5EF4-FFF2-40B4-BE49-F238E27FC236}">
                    <a16:creationId xmlns:a16="http://schemas.microsoft.com/office/drawing/2014/main" id="{F767DBC1-837B-9149-02BF-7E6919542484}"/>
                  </a:ext>
                </a:extLst>
              </p:cNvPr>
              <p:cNvSpPr>
                <a:spLocks/>
              </p:cNvSpPr>
              <p:nvPr/>
            </p:nvSpPr>
            <p:spPr bwMode="auto">
              <a:xfrm>
                <a:off x="4623" y="2804"/>
                <a:ext cx="126" cy="121"/>
              </a:xfrm>
              <a:custGeom>
                <a:avLst/>
                <a:gdLst>
                  <a:gd name="T0" fmla="*/ 0 w 126"/>
                  <a:gd name="T1" fmla="*/ 121 h 121"/>
                  <a:gd name="T2" fmla="*/ 21 w 126"/>
                  <a:gd name="T3" fmla="*/ 90 h 121"/>
                  <a:gd name="T4" fmla="*/ 50 w 126"/>
                  <a:gd name="T5" fmla="*/ 97 h 121"/>
                  <a:gd name="T6" fmla="*/ 60 w 126"/>
                  <a:gd name="T7" fmla="*/ 93 h 121"/>
                  <a:gd name="T8" fmla="*/ 96 w 126"/>
                  <a:gd name="T9" fmla="*/ 61 h 121"/>
                  <a:gd name="T10" fmla="*/ 98 w 126"/>
                  <a:gd name="T11" fmla="*/ 39 h 121"/>
                  <a:gd name="T12" fmla="*/ 116 w 126"/>
                  <a:gd name="T13" fmla="*/ 19 h 121"/>
                  <a:gd name="T14" fmla="*/ 126 w 126"/>
                  <a:gd name="T15" fmla="*/ 15 h 121"/>
                  <a:gd name="T16" fmla="*/ 120 w 126"/>
                  <a:gd name="T17" fmla="*/ 0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6" h="121">
                    <a:moveTo>
                      <a:pt x="0" y="121"/>
                    </a:moveTo>
                    <a:lnTo>
                      <a:pt x="21" y="90"/>
                    </a:lnTo>
                    <a:lnTo>
                      <a:pt x="50" y="97"/>
                    </a:lnTo>
                    <a:lnTo>
                      <a:pt x="60" y="93"/>
                    </a:lnTo>
                    <a:lnTo>
                      <a:pt x="96" y="61"/>
                    </a:lnTo>
                    <a:lnTo>
                      <a:pt x="98" y="39"/>
                    </a:lnTo>
                    <a:lnTo>
                      <a:pt x="116" y="19"/>
                    </a:lnTo>
                    <a:lnTo>
                      <a:pt x="126" y="15"/>
                    </a:lnTo>
                    <a:lnTo>
                      <a:pt x="120" y="0"/>
                    </a:lnTo>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none" anchor="ctr"/>
              <a:lstStyle/>
              <a:p>
                <a:endParaRPr lang="da-DK"/>
              </a:p>
            </p:txBody>
          </p:sp>
        </p:grpSp>
        <p:sp>
          <p:nvSpPr>
            <p:cNvPr id="89" name="Freeform 1130">
              <a:extLst>
                <a:ext uri="{FF2B5EF4-FFF2-40B4-BE49-F238E27FC236}">
                  <a16:creationId xmlns:a16="http://schemas.microsoft.com/office/drawing/2014/main" id="{3DED26D5-B683-395C-D26B-00F9B9EF7810}"/>
                </a:ext>
              </a:extLst>
            </p:cNvPr>
            <p:cNvSpPr>
              <a:spLocks/>
            </p:cNvSpPr>
            <p:nvPr>
              <p:custDataLst>
                <p:tags r:id="rId68"/>
              </p:custDataLst>
            </p:nvPr>
          </p:nvSpPr>
          <p:spPr bwMode="auto">
            <a:xfrm>
              <a:off x="3107175" y="3673494"/>
              <a:ext cx="1494869" cy="1305441"/>
            </a:xfrm>
            <a:custGeom>
              <a:avLst/>
              <a:gdLst>
                <a:gd name="T0" fmla="*/ 1360285 w 1371"/>
                <a:gd name="T1" fmla="*/ 1236740 h 1326"/>
                <a:gd name="T2" fmla="*/ 1341425 w 1371"/>
                <a:gd name="T3" fmla="*/ 1131372 h 1326"/>
                <a:gd name="T4" fmla="*/ 1291917 w 1371"/>
                <a:gd name="T5" fmla="*/ 1054741 h 1326"/>
                <a:gd name="T6" fmla="*/ 1394469 w 1371"/>
                <a:gd name="T7" fmla="*/ 1006846 h 1326"/>
                <a:gd name="T8" fmla="*/ 1375609 w 1371"/>
                <a:gd name="T9" fmla="*/ 933408 h 1326"/>
                <a:gd name="T10" fmla="*/ 1360285 w 1371"/>
                <a:gd name="T11" fmla="*/ 856777 h 1326"/>
                <a:gd name="T12" fmla="*/ 1360285 w 1371"/>
                <a:gd name="T13" fmla="*/ 825912 h 1326"/>
                <a:gd name="T14" fmla="*/ 1326101 w 1371"/>
                <a:gd name="T15" fmla="*/ 780146 h 1326"/>
                <a:gd name="T16" fmla="*/ 1426295 w 1371"/>
                <a:gd name="T17" fmla="*/ 687551 h 1326"/>
                <a:gd name="T18" fmla="*/ 1513523 w 1371"/>
                <a:gd name="T19" fmla="*/ 641785 h 1326"/>
                <a:gd name="T20" fmla="*/ 1547707 w 1371"/>
                <a:gd name="T21" fmla="*/ 534289 h 1326"/>
                <a:gd name="T22" fmla="*/ 1563031 w 1371"/>
                <a:gd name="T23" fmla="*/ 441693 h 1326"/>
                <a:gd name="T24" fmla="*/ 1426295 w 1371"/>
                <a:gd name="T25" fmla="*/ 336325 h 1326"/>
                <a:gd name="T26" fmla="*/ 1326101 w 1371"/>
                <a:gd name="T27" fmla="*/ 321425 h 1326"/>
                <a:gd name="T28" fmla="*/ 1258912 w 1371"/>
                <a:gd name="T29" fmla="*/ 243729 h 1326"/>
                <a:gd name="T30" fmla="*/ 1188186 w 1371"/>
                <a:gd name="T31" fmla="*/ 228829 h 1326"/>
                <a:gd name="T32" fmla="*/ 1156360 w 1371"/>
                <a:gd name="T33" fmla="*/ 152198 h 1326"/>
                <a:gd name="T34" fmla="*/ 1085635 w 1371"/>
                <a:gd name="T35" fmla="*/ 90467 h 1326"/>
                <a:gd name="T36" fmla="*/ 1034948 w 1371"/>
                <a:gd name="T37" fmla="*/ 30865 h 1326"/>
                <a:gd name="T38" fmla="*/ 951256 w 1371"/>
                <a:gd name="T39" fmla="*/ 0 h 1326"/>
                <a:gd name="T40" fmla="*/ 900570 w 1371"/>
                <a:gd name="T41" fmla="*/ 76631 h 1326"/>
                <a:gd name="T42" fmla="*/ 832202 w 1371"/>
                <a:gd name="T43" fmla="*/ 138362 h 1326"/>
                <a:gd name="T44" fmla="*/ 713148 w 1371"/>
                <a:gd name="T45" fmla="*/ 184127 h 1326"/>
                <a:gd name="T46" fmla="*/ 678964 w 1371"/>
                <a:gd name="T47" fmla="*/ 212864 h 1326"/>
                <a:gd name="T48" fmla="*/ 543407 w 1371"/>
                <a:gd name="T49" fmla="*/ 184127 h 1326"/>
                <a:gd name="T50" fmla="*/ 509223 w 1371"/>
                <a:gd name="T51" fmla="*/ 107496 h 1326"/>
                <a:gd name="T52" fmla="*/ 440855 w 1371"/>
                <a:gd name="T53" fmla="*/ 152198 h 1326"/>
                <a:gd name="T54" fmla="*/ 459715 w 1371"/>
                <a:gd name="T55" fmla="*/ 259694 h 1326"/>
                <a:gd name="T56" fmla="*/ 390168 w 1371"/>
                <a:gd name="T57" fmla="*/ 243729 h 1326"/>
                <a:gd name="T58" fmla="*/ 272293 w 1371"/>
                <a:gd name="T59" fmla="*/ 228829 h 1326"/>
                <a:gd name="T60" fmla="*/ 236930 w 1371"/>
                <a:gd name="T61" fmla="*/ 184127 h 1326"/>
                <a:gd name="T62" fmla="*/ 119054 w 1371"/>
                <a:gd name="T63" fmla="*/ 184127 h 1326"/>
                <a:gd name="T64" fmla="*/ 15324 w 1371"/>
                <a:gd name="T65" fmla="*/ 184127 h 1326"/>
                <a:gd name="T66" fmla="*/ 66010 w 1371"/>
                <a:gd name="T67" fmla="*/ 228829 h 1326"/>
                <a:gd name="T68" fmla="*/ 15324 w 1371"/>
                <a:gd name="T69" fmla="*/ 259694 h 1326"/>
                <a:gd name="T70" fmla="*/ 100194 w 1371"/>
                <a:gd name="T71" fmla="*/ 290559 h 1326"/>
                <a:gd name="T72" fmla="*/ 168562 w 1371"/>
                <a:gd name="T73" fmla="*/ 367190 h 1326"/>
                <a:gd name="T74" fmla="*/ 253433 w 1371"/>
                <a:gd name="T75" fmla="*/ 412956 h 1326"/>
                <a:gd name="T76" fmla="*/ 272293 w 1371"/>
                <a:gd name="T77" fmla="*/ 472558 h 1326"/>
                <a:gd name="T78" fmla="*/ 287617 w 1371"/>
                <a:gd name="T79" fmla="*/ 565154 h 1326"/>
                <a:gd name="T80" fmla="*/ 355984 w 1371"/>
                <a:gd name="T81" fmla="*/ 641785 h 1326"/>
                <a:gd name="T82" fmla="*/ 338303 w 1371"/>
                <a:gd name="T83" fmla="*/ 732252 h 1326"/>
                <a:gd name="T84" fmla="*/ 355984 w 1371"/>
                <a:gd name="T85" fmla="*/ 808883 h 1326"/>
                <a:gd name="T86" fmla="*/ 338303 w 1371"/>
                <a:gd name="T87" fmla="*/ 825912 h 1326"/>
                <a:gd name="T88" fmla="*/ 287617 w 1371"/>
                <a:gd name="T89" fmla="*/ 825912 h 1326"/>
                <a:gd name="T90" fmla="*/ 272293 w 1371"/>
                <a:gd name="T91" fmla="*/ 916379 h 1326"/>
                <a:gd name="T92" fmla="*/ 202746 w 1371"/>
                <a:gd name="T93" fmla="*/ 978110 h 1326"/>
                <a:gd name="T94" fmla="*/ 100194 w 1371"/>
                <a:gd name="T95" fmla="*/ 1100507 h 1326"/>
                <a:gd name="T96" fmla="*/ 168562 w 1371"/>
                <a:gd name="T97" fmla="*/ 1160109 h 1326"/>
                <a:gd name="T98" fmla="*/ 287617 w 1371"/>
                <a:gd name="T99" fmla="*/ 1236740 h 1326"/>
                <a:gd name="T100" fmla="*/ 429067 w 1371"/>
                <a:gd name="T101" fmla="*/ 1302727 h 1326"/>
                <a:gd name="T102" fmla="*/ 528083 w 1371"/>
                <a:gd name="T103" fmla="*/ 1360201 h 1326"/>
                <a:gd name="T104" fmla="*/ 644780 w 1371"/>
                <a:gd name="T105" fmla="*/ 1391066 h 1326"/>
                <a:gd name="T106" fmla="*/ 744974 w 1371"/>
                <a:gd name="T107" fmla="*/ 1397452 h 1326"/>
                <a:gd name="T108" fmla="*/ 747332 w 1371"/>
                <a:gd name="T109" fmla="*/ 1312306 h 1326"/>
                <a:gd name="T110" fmla="*/ 832202 w 1371"/>
                <a:gd name="T111" fmla="*/ 1267605 h 1326"/>
                <a:gd name="T112" fmla="*/ 934754 w 1371"/>
                <a:gd name="T113" fmla="*/ 1267605 h 1326"/>
                <a:gd name="T114" fmla="*/ 1034948 w 1371"/>
                <a:gd name="T115" fmla="*/ 1267605 h 1326"/>
                <a:gd name="T116" fmla="*/ 1085635 w 1371"/>
                <a:gd name="T117" fmla="*/ 1312306 h 1326"/>
                <a:gd name="T118" fmla="*/ 1156360 w 1371"/>
                <a:gd name="T119" fmla="*/ 1376165 h 1326"/>
                <a:gd name="T120" fmla="*/ 1258912 w 1371"/>
                <a:gd name="T121" fmla="*/ 1360201 h 1326"/>
                <a:gd name="T122" fmla="*/ 1307241 w 1371"/>
                <a:gd name="T123" fmla="*/ 1312306 h 1326"/>
                <a:gd name="T124" fmla="*/ 1375609 w 1371"/>
                <a:gd name="T125" fmla="*/ 1300599 h 13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71" h="1326">
                  <a:moveTo>
                    <a:pt x="1167" y="1222"/>
                  </a:moveTo>
                  <a:lnTo>
                    <a:pt x="1183" y="1206"/>
                  </a:lnTo>
                  <a:lnTo>
                    <a:pt x="1183" y="1191"/>
                  </a:lnTo>
                  <a:lnTo>
                    <a:pt x="1196" y="1177"/>
                  </a:lnTo>
                  <a:lnTo>
                    <a:pt x="1183" y="1162"/>
                  </a:lnTo>
                  <a:lnTo>
                    <a:pt x="1154" y="1162"/>
                  </a:lnTo>
                  <a:lnTo>
                    <a:pt x="1138" y="1162"/>
                  </a:lnTo>
                  <a:lnTo>
                    <a:pt x="1125" y="1134"/>
                  </a:lnTo>
                  <a:lnTo>
                    <a:pt x="1125" y="1121"/>
                  </a:lnTo>
                  <a:lnTo>
                    <a:pt x="1125" y="1090"/>
                  </a:lnTo>
                  <a:lnTo>
                    <a:pt x="1125" y="1076"/>
                  </a:lnTo>
                  <a:lnTo>
                    <a:pt x="1138" y="1063"/>
                  </a:lnTo>
                  <a:lnTo>
                    <a:pt x="1138" y="1047"/>
                  </a:lnTo>
                  <a:lnTo>
                    <a:pt x="1138" y="1034"/>
                  </a:lnTo>
                  <a:lnTo>
                    <a:pt x="1125" y="1018"/>
                  </a:lnTo>
                  <a:lnTo>
                    <a:pt x="1109" y="1018"/>
                  </a:lnTo>
                  <a:lnTo>
                    <a:pt x="1096" y="1005"/>
                  </a:lnTo>
                  <a:lnTo>
                    <a:pt x="1096" y="991"/>
                  </a:lnTo>
                  <a:lnTo>
                    <a:pt x="1109" y="991"/>
                  </a:lnTo>
                  <a:lnTo>
                    <a:pt x="1125" y="991"/>
                  </a:lnTo>
                  <a:lnTo>
                    <a:pt x="1138" y="991"/>
                  </a:lnTo>
                  <a:lnTo>
                    <a:pt x="1154" y="975"/>
                  </a:lnTo>
                  <a:lnTo>
                    <a:pt x="1167" y="962"/>
                  </a:lnTo>
                  <a:lnTo>
                    <a:pt x="1183" y="946"/>
                  </a:lnTo>
                  <a:lnTo>
                    <a:pt x="1167" y="933"/>
                  </a:lnTo>
                  <a:lnTo>
                    <a:pt x="1167" y="919"/>
                  </a:lnTo>
                  <a:lnTo>
                    <a:pt x="1154" y="904"/>
                  </a:lnTo>
                  <a:lnTo>
                    <a:pt x="1154" y="890"/>
                  </a:lnTo>
                  <a:lnTo>
                    <a:pt x="1167" y="890"/>
                  </a:lnTo>
                  <a:lnTo>
                    <a:pt x="1167" y="877"/>
                  </a:lnTo>
                  <a:lnTo>
                    <a:pt x="1167" y="861"/>
                  </a:lnTo>
                  <a:lnTo>
                    <a:pt x="1154" y="847"/>
                  </a:lnTo>
                  <a:lnTo>
                    <a:pt x="1154" y="832"/>
                  </a:lnTo>
                  <a:lnTo>
                    <a:pt x="1167" y="832"/>
                  </a:lnTo>
                  <a:lnTo>
                    <a:pt x="1154" y="818"/>
                  </a:lnTo>
                  <a:lnTo>
                    <a:pt x="1154" y="805"/>
                  </a:lnTo>
                  <a:lnTo>
                    <a:pt x="1167" y="805"/>
                  </a:lnTo>
                  <a:lnTo>
                    <a:pt x="1183" y="805"/>
                  </a:lnTo>
                  <a:lnTo>
                    <a:pt x="1183" y="789"/>
                  </a:lnTo>
                  <a:lnTo>
                    <a:pt x="1167" y="760"/>
                  </a:lnTo>
                  <a:lnTo>
                    <a:pt x="1154" y="760"/>
                  </a:lnTo>
                  <a:lnTo>
                    <a:pt x="1154" y="776"/>
                  </a:lnTo>
                  <a:lnTo>
                    <a:pt x="1138" y="776"/>
                  </a:lnTo>
                  <a:lnTo>
                    <a:pt x="1125" y="805"/>
                  </a:lnTo>
                  <a:lnTo>
                    <a:pt x="1096" y="818"/>
                  </a:lnTo>
                  <a:lnTo>
                    <a:pt x="1082" y="789"/>
                  </a:lnTo>
                  <a:lnTo>
                    <a:pt x="1096" y="760"/>
                  </a:lnTo>
                  <a:lnTo>
                    <a:pt x="1125" y="733"/>
                  </a:lnTo>
                  <a:lnTo>
                    <a:pt x="1125" y="717"/>
                  </a:lnTo>
                  <a:lnTo>
                    <a:pt x="1138" y="702"/>
                  </a:lnTo>
                  <a:lnTo>
                    <a:pt x="1167" y="702"/>
                  </a:lnTo>
                  <a:lnTo>
                    <a:pt x="1196" y="688"/>
                  </a:lnTo>
                  <a:lnTo>
                    <a:pt x="1210" y="661"/>
                  </a:lnTo>
                  <a:lnTo>
                    <a:pt x="1210" y="646"/>
                  </a:lnTo>
                  <a:lnTo>
                    <a:pt x="1225" y="632"/>
                  </a:lnTo>
                  <a:lnTo>
                    <a:pt x="1239" y="646"/>
                  </a:lnTo>
                  <a:lnTo>
                    <a:pt x="1255" y="661"/>
                  </a:lnTo>
                  <a:lnTo>
                    <a:pt x="1268" y="632"/>
                  </a:lnTo>
                  <a:lnTo>
                    <a:pt x="1284" y="646"/>
                  </a:lnTo>
                  <a:lnTo>
                    <a:pt x="1284" y="603"/>
                  </a:lnTo>
                  <a:lnTo>
                    <a:pt x="1297" y="589"/>
                  </a:lnTo>
                  <a:lnTo>
                    <a:pt x="1297" y="574"/>
                  </a:lnTo>
                  <a:lnTo>
                    <a:pt x="1297" y="547"/>
                  </a:lnTo>
                  <a:lnTo>
                    <a:pt x="1297" y="531"/>
                  </a:lnTo>
                  <a:lnTo>
                    <a:pt x="1313" y="516"/>
                  </a:lnTo>
                  <a:lnTo>
                    <a:pt x="1313" y="502"/>
                  </a:lnTo>
                  <a:lnTo>
                    <a:pt x="1326" y="473"/>
                  </a:lnTo>
                  <a:lnTo>
                    <a:pt x="1342" y="458"/>
                  </a:lnTo>
                  <a:lnTo>
                    <a:pt x="1371" y="430"/>
                  </a:lnTo>
                  <a:lnTo>
                    <a:pt x="1355" y="415"/>
                  </a:lnTo>
                  <a:lnTo>
                    <a:pt x="1342" y="415"/>
                  </a:lnTo>
                  <a:lnTo>
                    <a:pt x="1326" y="415"/>
                  </a:lnTo>
                  <a:lnTo>
                    <a:pt x="1313" y="401"/>
                  </a:lnTo>
                  <a:lnTo>
                    <a:pt x="1284" y="401"/>
                  </a:lnTo>
                  <a:lnTo>
                    <a:pt x="1255" y="388"/>
                  </a:lnTo>
                  <a:lnTo>
                    <a:pt x="1239" y="374"/>
                  </a:lnTo>
                  <a:lnTo>
                    <a:pt x="1225" y="345"/>
                  </a:lnTo>
                  <a:lnTo>
                    <a:pt x="1210" y="316"/>
                  </a:lnTo>
                  <a:lnTo>
                    <a:pt x="1183" y="316"/>
                  </a:lnTo>
                  <a:lnTo>
                    <a:pt x="1167" y="302"/>
                  </a:lnTo>
                  <a:lnTo>
                    <a:pt x="1154" y="302"/>
                  </a:lnTo>
                  <a:lnTo>
                    <a:pt x="1138" y="302"/>
                  </a:lnTo>
                  <a:lnTo>
                    <a:pt x="1125" y="316"/>
                  </a:lnTo>
                  <a:lnTo>
                    <a:pt x="1125" y="302"/>
                  </a:lnTo>
                  <a:lnTo>
                    <a:pt x="1109" y="287"/>
                  </a:lnTo>
                  <a:lnTo>
                    <a:pt x="1096" y="273"/>
                  </a:lnTo>
                  <a:lnTo>
                    <a:pt x="1082" y="273"/>
                  </a:lnTo>
                  <a:lnTo>
                    <a:pt x="1082" y="258"/>
                  </a:lnTo>
                  <a:lnTo>
                    <a:pt x="1068" y="244"/>
                  </a:lnTo>
                  <a:lnTo>
                    <a:pt x="1068" y="229"/>
                  </a:lnTo>
                  <a:lnTo>
                    <a:pt x="1053" y="215"/>
                  </a:lnTo>
                  <a:lnTo>
                    <a:pt x="1053" y="200"/>
                  </a:lnTo>
                  <a:lnTo>
                    <a:pt x="1037" y="200"/>
                  </a:lnTo>
                  <a:lnTo>
                    <a:pt x="1037" y="215"/>
                  </a:lnTo>
                  <a:lnTo>
                    <a:pt x="1024" y="215"/>
                  </a:lnTo>
                  <a:lnTo>
                    <a:pt x="1008" y="215"/>
                  </a:lnTo>
                  <a:lnTo>
                    <a:pt x="995" y="200"/>
                  </a:lnTo>
                  <a:lnTo>
                    <a:pt x="1008" y="186"/>
                  </a:lnTo>
                  <a:lnTo>
                    <a:pt x="1008" y="173"/>
                  </a:lnTo>
                  <a:lnTo>
                    <a:pt x="1008" y="143"/>
                  </a:lnTo>
                  <a:lnTo>
                    <a:pt x="995" y="143"/>
                  </a:lnTo>
                  <a:lnTo>
                    <a:pt x="981" y="143"/>
                  </a:lnTo>
                  <a:lnTo>
                    <a:pt x="966" y="143"/>
                  </a:lnTo>
                  <a:lnTo>
                    <a:pt x="952" y="114"/>
                  </a:lnTo>
                  <a:lnTo>
                    <a:pt x="952" y="101"/>
                  </a:lnTo>
                  <a:lnTo>
                    <a:pt x="936" y="101"/>
                  </a:lnTo>
                  <a:lnTo>
                    <a:pt x="921" y="101"/>
                  </a:lnTo>
                  <a:lnTo>
                    <a:pt x="921" y="85"/>
                  </a:lnTo>
                  <a:lnTo>
                    <a:pt x="921" y="72"/>
                  </a:lnTo>
                  <a:lnTo>
                    <a:pt x="907" y="72"/>
                  </a:lnTo>
                  <a:lnTo>
                    <a:pt x="894" y="72"/>
                  </a:lnTo>
                  <a:lnTo>
                    <a:pt x="894" y="58"/>
                  </a:lnTo>
                  <a:lnTo>
                    <a:pt x="878" y="43"/>
                  </a:lnTo>
                  <a:lnTo>
                    <a:pt x="878" y="29"/>
                  </a:lnTo>
                  <a:lnTo>
                    <a:pt x="878" y="14"/>
                  </a:lnTo>
                  <a:lnTo>
                    <a:pt x="878" y="0"/>
                  </a:lnTo>
                  <a:lnTo>
                    <a:pt x="849" y="0"/>
                  </a:lnTo>
                  <a:lnTo>
                    <a:pt x="836" y="0"/>
                  </a:lnTo>
                  <a:lnTo>
                    <a:pt x="820" y="0"/>
                  </a:lnTo>
                  <a:lnTo>
                    <a:pt x="807" y="0"/>
                  </a:lnTo>
                  <a:lnTo>
                    <a:pt x="793" y="0"/>
                  </a:lnTo>
                  <a:lnTo>
                    <a:pt x="779" y="14"/>
                  </a:lnTo>
                  <a:lnTo>
                    <a:pt x="779" y="29"/>
                  </a:lnTo>
                  <a:lnTo>
                    <a:pt x="779" y="43"/>
                  </a:lnTo>
                  <a:lnTo>
                    <a:pt x="764" y="58"/>
                  </a:lnTo>
                  <a:lnTo>
                    <a:pt x="764" y="72"/>
                  </a:lnTo>
                  <a:lnTo>
                    <a:pt x="764" y="101"/>
                  </a:lnTo>
                  <a:lnTo>
                    <a:pt x="764" y="114"/>
                  </a:lnTo>
                  <a:lnTo>
                    <a:pt x="750" y="114"/>
                  </a:lnTo>
                  <a:lnTo>
                    <a:pt x="735" y="114"/>
                  </a:lnTo>
                  <a:lnTo>
                    <a:pt x="721" y="130"/>
                  </a:lnTo>
                  <a:lnTo>
                    <a:pt x="706" y="130"/>
                  </a:lnTo>
                  <a:lnTo>
                    <a:pt x="677" y="143"/>
                  </a:lnTo>
                  <a:lnTo>
                    <a:pt x="649" y="157"/>
                  </a:lnTo>
                  <a:lnTo>
                    <a:pt x="620" y="157"/>
                  </a:lnTo>
                  <a:lnTo>
                    <a:pt x="591" y="157"/>
                  </a:lnTo>
                  <a:lnTo>
                    <a:pt x="591" y="173"/>
                  </a:lnTo>
                  <a:lnTo>
                    <a:pt x="605" y="173"/>
                  </a:lnTo>
                  <a:lnTo>
                    <a:pt x="634" y="186"/>
                  </a:lnTo>
                  <a:lnTo>
                    <a:pt x="649" y="200"/>
                  </a:lnTo>
                  <a:lnTo>
                    <a:pt x="634" y="200"/>
                  </a:lnTo>
                  <a:lnTo>
                    <a:pt x="634" y="215"/>
                  </a:lnTo>
                  <a:lnTo>
                    <a:pt x="605" y="200"/>
                  </a:lnTo>
                  <a:lnTo>
                    <a:pt x="576" y="200"/>
                  </a:lnTo>
                  <a:lnTo>
                    <a:pt x="547" y="200"/>
                  </a:lnTo>
                  <a:lnTo>
                    <a:pt x="547" y="186"/>
                  </a:lnTo>
                  <a:lnTo>
                    <a:pt x="518" y="186"/>
                  </a:lnTo>
                  <a:lnTo>
                    <a:pt x="490" y="173"/>
                  </a:lnTo>
                  <a:lnTo>
                    <a:pt x="461" y="157"/>
                  </a:lnTo>
                  <a:lnTo>
                    <a:pt x="461" y="173"/>
                  </a:lnTo>
                  <a:lnTo>
                    <a:pt x="432" y="157"/>
                  </a:lnTo>
                  <a:lnTo>
                    <a:pt x="448" y="143"/>
                  </a:lnTo>
                  <a:lnTo>
                    <a:pt x="432" y="130"/>
                  </a:lnTo>
                  <a:lnTo>
                    <a:pt x="432" y="114"/>
                  </a:lnTo>
                  <a:lnTo>
                    <a:pt x="448" y="101"/>
                  </a:lnTo>
                  <a:lnTo>
                    <a:pt x="432" y="101"/>
                  </a:lnTo>
                  <a:lnTo>
                    <a:pt x="419" y="101"/>
                  </a:lnTo>
                  <a:lnTo>
                    <a:pt x="403" y="85"/>
                  </a:lnTo>
                  <a:lnTo>
                    <a:pt x="390" y="85"/>
                  </a:lnTo>
                  <a:lnTo>
                    <a:pt x="390" y="101"/>
                  </a:lnTo>
                  <a:lnTo>
                    <a:pt x="374" y="114"/>
                  </a:lnTo>
                  <a:lnTo>
                    <a:pt x="374" y="143"/>
                  </a:lnTo>
                  <a:lnTo>
                    <a:pt x="374" y="157"/>
                  </a:lnTo>
                  <a:lnTo>
                    <a:pt x="390" y="186"/>
                  </a:lnTo>
                  <a:lnTo>
                    <a:pt x="374" y="200"/>
                  </a:lnTo>
                  <a:lnTo>
                    <a:pt x="374" y="215"/>
                  </a:lnTo>
                  <a:lnTo>
                    <a:pt x="374" y="229"/>
                  </a:lnTo>
                  <a:lnTo>
                    <a:pt x="390" y="244"/>
                  </a:lnTo>
                  <a:lnTo>
                    <a:pt x="390" y="258"/>
                  </a:lnTo>
                  <a:lnTo>
                    <a:pt x="361" y="258"/>
                  </a:lnTo>
                  <a:lnTo>
                    <a:pt x="345" y="244"/>
                  </a:lnTo>
                  <a:lnTo>
                    <a:pt x="331" y="244"/>
                  </a:lnTo>
                  <a:lnTo>
                    <a:pt x="316" y="244"/>
                  </a:lnTo>
                  <a:lnTo>
                    <a:pt x="331" y="229"/>
                  </a:lnTo>
                  <a:lnTo>
                    <a:pt x="302" y="229"/>
                  </a:lnTo>
                  <a:lnTo>
                    <a:pt x="273" y="229"/>
                  </a:lnTo>
                  <a:lnTo>
                    <a:pt x="258" y="215"/>
                  </a:lnTo>
                  <a:lnTo>
                    <a:pt x="258" y="229"/>
                  </a:lnTo>
                  <a:lnTo>
                    <a:pt x="231" y="229"/>
                  </a:lnTo>
                  <a:lnTo>
                    <a:pt x="231" y="215"/>
                  </a:lnTo>
                  <a:lnTo>
                    <a:pt x="231" y="186"/>
                  </a:lnTo>
                  <a:lnTo>
                    <a:pt x="215" y="186"/>
                  </a:lnTo>
                  <a:lnTo>
                    <a:pt x="201" y="186"/>
                  </a:lnTo>
                  <a:lnTo>
                    <a:pt x="201" y="173"/>
                  </a:lnTo>
                  <a:lnTo>
                    <a:pt x="215" y="157"/>
                  </a:lnTo>
                  <a:lnTo>
                    <a:pt x="201" y="173"/>
                  </a:lnTo>
                  <a:lnTo>
                    <a:pt x="172" y="157"/>
                  </a:lnTo>
                  <a:lnTo>
                    <a:pt x="159" y="173"/>
                  </a:lnTo>
                  <a:lnTo>
                    <a:pt x="159" y="186"/>
                  </a:lnTo>
                  <a:lnTo>
                    <a:pt x="130" y="186"/>
                  </a:lnTo>
                  <a:lnTo>
                    <a:pt x="130" y="173"/>
                  </a:lnTo>
                  <a:lnTo>
                    <a:pt x="101" y="173"/>
                  </a:lnTo>
                  <a:lnTo>
                    <a:pt x="85" y="173"/>
                  </a:lnTo>
                  <a:lnTo>
                    <a:pt x="72" y="157"/>
                  </a:lnTo>
                  <a:lnTo>
                    <a:pt x="56" y="173"/>
                  </a:lnTo>
                  <a:lnTo>
                    <a:pt x="42" y="173"/>
                  </a:lnTo>
                  <a:lnTo>
                    <a:pt x="29" y="173"/>
                  </a:lnTo>
                  <a:lnTo>
                    <a:pt x="13" y="173"/>
                  </a:lnTo>
                  <a:lnTo>
                    <a:pt x="13" y="186"/>
                  </a:lnTo>
                  <a:lnTo>
                    <a:pt x="29" y="186"/>
                  </a:lnTo>
                  <a:lnTo>
                    <a:pt x="42" y="186"/>
                  </a:lnTo>
                  <a:lnTo>
                    <a:pt x="56" y="186"/>
                  </a:lnTo>
                  <a:lnTo>
                    <a:pt x="56" y="200"/>
                  </a:lnTo>
                  <a:lnTo>
                    <a:pt x="56" y="215"/>
                  </a:lnTo>
                  <a:lnTo>
                    <a:pt x="42" y="215"/>
                  </a:lnTo>
                  <a:lnTo>
                    <a:pt x="42" y="229"/>
                  </a:lnTo>
                  <a:lnTo>
                    <a:pt x="29" y="229"/>
                  </a:lnTo>
                  <a:lnTo>
                    <a:pt x="13" y="229"/>
                  </a:lnTo>
                  <a:lnTo>
                    <a:pt x="0" y="244"/>
                  </a:lnTo>
                  <a:lnTo>
                    <a:pt x="13" y="244"/>
                  </a:lnTo>
                  <a:lnTo>
                    <a:pt x="29" y="258"/>
                  </a:lnTo>
                  <a:lnTo>
                    <a:pt x="42" y="287"/>
                  </a:lnTo>
                  <a:lnTo>
                    <a:pt x="42" y="273"/>
                  </a:lnTo>
                  <a:lnTo>
                    <a:pt x="72" y="287"/>
                  </a:lnTo>
                  <a:lnTo>
                    <a:pt x="72" y="273"/>
                  </a:lnTo>
                  <a:lnTo>
                    <a:pt x="85" y="273"/>
                  </a:lnTo>
                  <a:lnTo>
                    <a:pt x="85" y="287"/>
                  </a:lnTo>
                  <a:lnTo>
                    <a:pt x="114" y="316"/>
                  </a:lnTo>
                  <a:lnTo>
                    <a:pt x="130" y="316"/>
                  </a:lnTo>
                  <a:lnTo>
                    <a:pt x="130" y="330"/>
                  </a:lnTo>
                  <a:lnTo>
                    <a:pt x="143" y="330"/>
                  </a:lnTo>
                  <a:lnTo>
                    <a:pt x="143" y="345"/>
                  </a:lnTo>
                  <a:lnTo>
                    <a:pt x="143" y="359"/>
                  </a:lnTo>
                  <a:lnTo>
                    <a:pt x="172" y="359"/>
                  </a:lnTo>
                  <a:lnTo>
                    <a:pt x="201" y="359"/>
                  </a:lnTo>
                  <a:lnTo>
                    <a:pt x="186" y="374"/>
                  </a:lnTo>
                  <a:lnTo>
                    <a:pt x="201" y="374"/>
                  </a:lnTo>
                  <a:lnTo>
                    <a:pt x="215" y="388"/>
                  </a:lnTo>
                  <a:lnTo>
                    <a:pt x="201" y="415"/>
                  </a:lnTo>
                  <a:lnTo>
                    <a:pt x="215" y="415"/>
                  </a:lnTo>
                  <a:lnTo>
                    <a:pt x="231" y="430"/>
                  </a:lnTo>
                  <a:lnTo>
                    <a:pt x="258" y="430"/>
                  </a:lnTo>
                  <a:lnTo>
                    <a:pt x="231" y="430"/>
                  </a:lnTo>
                  <a:lnTo>
                    <a:pt x="231" y="444"/>
                  </a:lnTo>
                  <a:lnTo>
                    <a:pt x="244" y="444"/>
                  </a:lnTo>
                  <a:lnTo>
                    <a:pt x="244" y="458"/>
                  </a:lnTo>
                  <a:lnTo>
                    <a:pt x="215" y="489"/>
                  </a:lnTo>
                  <a:lnTo>
                    <a:pt x="215" y="502"/>
                  </a:lnTo>
                  <a:lnTo>
                    <a:pt x="231" y="531"/>
                  </a:lnTo>
                  <a:lnTo>
                    <a:pt x="244" y="531"/>
                  </a:lnTo>
                  <a:lnTo>
                    <a:pt x="244" y="560"/>
                  </a:lnTo>
                  <a:lnTo>
                    <a:pt x="258" y="574"/>
                  </a:lnTo>
                  <a:lnTo>
                    <a:pt x="258" y="589"/>
                  </a:lnTo>
                  <a:lnTo>
                    <a:pt x="287" y="603"/>
                  </a:lnTo>
                  <a:lnTo>
                    <a:pt x="302" y="589"/>
                  </a:lnTo>
                  <a:lnTo>
                    <a:pt x="302" y="603"/>
                  </a:lnTo>
                  <a:lnTo>
                    <a:pt x="302" y="619"/>
                  </a:lnTo>
                  <a:lnTo>
                    <a:pt x="287" y="632"/>
                  </a:lnTo>
                  <a:lnTo>
                    <a:pt x="302" y="632"/>
                  </a:lnTo>
                  <a:lnTo>
                    <a:pt x="287" y="646"/>
                  </a:lnTo>
                  <a:lnTo>
                    <a:pt x="287" y="675"/>
                  </a:lnTo>
                  <a:lnTo>
                    <a:pt x="287" y="688"/>
                  </a:lnTo>
                  <a:lnTo>
                    <a:pt x="273" y="702"/>
                  </a:lnTo>
                  <a:lnTo>
                    <a:pt x="273" y="717"/>
                  </a:lnTo>
                  <a:lnTo>
                    <a:pt x="287" y="717"/>
                  </a:lnTo>
                  <a:lnTo>
                    <a:pt x="287" y="733"/>
                  </a:lnTo>
                  <a:lnTo>
                    <a:pt x="287" y="747"/>
                  </a:lnTo>
                  <a:lnTo>
                    <a:pt x="302" y="760"/>
                  </a:lnTo>
                  <a:lnTo>
                    <a:pt x="302" y="776"/>
                  </a:lnTo>
                  <a:lnTo>
                    <a:pt x="302" y="805"/>
                  </a:lnTo>
                  <a:lnTo>
                    <a:pt x="302" y="818"/>
                  </a:lnTo>
                  <a:lnTo>
                    <a:pt x="287" y="805"/>
                  </a:lnTo>
                  <a:lnTo>
                    <a:pt x="287" y="789"/>
                  </a:lnTo>
                  <a:lnTo>
                    <a:pt x="287" y="776"/>
                  </a:lnTo>
                  <a:lnTo>
                    <a:pt x="273" y="760"/>
                  </a:lnTo>
                  <a:lnTo>
                    <a:pt x="273" y="747"/>
                  </a:lnTo>
                  <a:lnTo>
                    <a:pt x="258" y="733"/>
                  </a:lnTo>
                  <a:lnTo>
                    <a:pt x="258" y="717"/>
                  </a:lnTo>
                  <a:lnTo>
                    <a:pt x="244" y="733"/>
                  </a:lnTo>
                  <a:lnTo>
                    <a:pt x="244" y="776"/>
                  </a:lnTo>
                  <a:lnTo>
                    <a:pt x="244" y="789"/>
                  </a:lnTo>
                  <a:lnTo>
                    <a:pt x="231" y="805"/>
                  </a:lnTo>
                  <a:lnTo>
                    <a:pt x="231" y="832"/>
                  </a:lnTo>
                  <a:lnTo>
                    <a:pt x="215" y="832"/>
                  </a:lnTo>
                  <a:lnTo>
                    <a:pt x="244" y="847"/>
                  </a:lnTo>
                  <a:lnTo>
                    <a:pt x="231" y="861"/>
                  </a:lnTo>
                  <a:lnTo>
                    <a:pt x="201" y="861"/>
                  </a:lnTo>
                  <a:lnTo>
                    <a:pt x="201" y="877"/>
                  </a:lnTo>
                  <a:lnTo>
                    <a:pt x="201" y="890"/>
                  </a:lnTo>
                  <a:lnTo>
                    <a:pt x="186" y="904"/>
                  </a:lnTo>
                  <a:lnTo>
                    <a:pt x="186" y="919"/>
                  </a:lnTo>
                  <a:lnTo>
                    <a:pt x="172" y="919"/>
                  </a:lnTo>
                  <a:lnTo>
                    <a:pt x="172" y="946"/>
                  </a:lnTo>
                  <a:lnTo>
                    <a:pt x="159" y="946"/>
                  </a:lnTo>
                  <a:lnTo>
                    <a:pt x="143" y="962"/>
                  </a:lnTo>
                  <a:lnTo>
                    <a:pt x="143" y="975"/>
                  </a:lnTo>
                  <a:lnTo>
                    <a:pt x="114" y="1005"/>
                  </a:lnTo>
                  <a:lnTo>
                    <a:pt x="85" y="1034"/>
                  </a:lnTo>
                  <a:lnTo>
                    <a:pt x="101" y="1047"/>
                  </a:lnTo>
                  <a:lnTo>
                    <a:pt x="114" y="1063"/>
                  </a:lnTo>
                  <a:lnTo>
                    <a:pt x="114" y="1076"/>
                  </a:lnTo>
                  <a:lnTo>
                    <a:pt x="114" y="1090"/>
                  </a:lnTo>
                  <a:lnTo>
                    <a:pt x="130" y="1090"/>
                  </a:lnTo>
                  <a:lnTo>
                    <a:pt x="143" y="1090"/>
                  </a:lnTo>
                  <a:lnTo>
                    <a:pt x="172" y="1121"/>
                  </a:lnTo>
                  <a:lnTo>
                    <a:pt x="186" y="1121"/>
                  </a:lnTo>
                  <a:lnTo>
                    <a:pt x="201" y="1148"/>
                  </a:lnTo>
                  <a:lnTo>
                    <a:pt x="215" y="1148"/>
                  </a:lnTo>
                  <a:lnTo>
                    <a:pt x="231" y="1148"/>
                  </a:lnTo>
                  <a:lnTo>
                    <a:pt x="244" y="1162"/>
                  </a:lnTo>
                  <a:lnTo>
                    <a:pt x="273" y="1191"/>
                  </a:lnTo>
                  <a:lnTo>
                    <a:pt x="287" y="1191"/>
                  </a:lnTo>
                  <a:lnTo>
                    <a:pt x="316" y="1206"/>
                  </a:lnTo>
                  <a:lnTo>
                    <a:pt x="331" y="1206"/>
                  </a:lnTo>
                  <a:lnTo>
                    <a:pt x="331" y="1222"/>
                  </a:lnTo>
                  <a:lnTo>
                    <a:pt x="364" y="1224"/>
                  </a:lnTo>
                  <a:lnTo>
                    <a:pt x="399" y="1212"/>
                  </a:lnTo>
                  <a:lnTo>
                    <a:pt x="415" y="1226"/>
                  </a:lnTo>
                  <a:lnTo>
                    <a:pt x="423" y="1241"/>
                  </a:lnTo>
                  <a:lnTo>
                    <a:pt x="419" y="1262"/>
                  </a:lnTo>
                  <a:lnTo>
                    <a:pt x="432" y="1278"/>
                  </a:lnTo>
                  <a:lnTo>
                    <a:pt x="448" y="1278"/>
                  </a:lnTo>
                  <a:lnTo>
                    <a:pt x="461" y="1278"/>
                  </a:lnTo>
                  <a:lnTo>
                    <a:pt x="475" y="1278"/>
                  </a:lnTo>
                  <a:lnTo>
                    <a:pt x="490" y="1293"/>
                  </a:lnTo>
                  <a:lnTo>
                    <a:pt x="504" y="1307"/>
                  </a:lnTo>
                  <a:lnTo>
                    <a:pt x="518" y="1307"/>
                  </a:lnTo>
                  <a:lnTo>
                    <a:pt x="547" y="1307"/>
                  </a:lnTo>
                  <a:lnTo>
                    <a:pt x="560" y="1319"/>
                  </a:lnTo>
                  <a:lnTo>
                    <a:pt x="580" y="1323"/>
                  </a:lnTo>
                  <a:lnTo>
                    <a:pt x="591" y="1319"/>
                  </a:lnTo>
                  <a:lnTo>
                    <a:pt x="605" y="1319"/>
                  </a:lnTo>
                  <a:lnTo>
                    <a:pt x="615" y="1326"/>
                  </a:lnTo>
                  <a:lnTo>
                    <a:pt x="632" y="1313"/>
                  </a:lnTo>
                  <a:lnTo>
                    <a:pt x="626" y="1309"/>
                  </a:lnTo>
                  <a:lnTo>
                    <a:pt x="622" y="1299"/>
                  </a:lnTo>
                  <a:lnTo>
                    <a:pt x="620" y="1293"/>
                  </a:lnTo>
                  <a:lnTo>
                    <a:pt x="634" y="1278"/>
                  </a:lnTo>
                  <a:lnTo>
                    <a:pt x="620" y="1262"/>
                  </a:lnTo>
                  <a:lnTo>
                    <a:pt x="634" y="1233"/>
                  </a:lnTo>
                  <a:lnTo>
                    <a:pt x="634" y="1222"/>
                  </a:lnTo>
                  <a:lnTo>
                    <a:pt x="649" y="1206"/>
                  </a:lnTo>
                  <a:lnTo>
                    <a:pt x="663" y="1206"/>
                  </a:lnTo>
                  <a:lnTo>
                    <a:pt x="677" y="1191"/>
                  </a:lnTo>
                  <a:lnTo>
                    <a:pt x="692" y="1191"/>
                  </a:lnTo>
                  <a:lnTo>
                    <a:pt x="706" y="1191"/>
                  </a:lnTo>
                  <a:lnTo>
                    <a:pt x="721" y="1191"/>
                  </a:lnTo>
                  <a:lnTo>
                    <a:pt x="735" y="1177"/>
                  </a:lnTo>
                  <a:lnTo>
                    <a:pt x="750" y="1162"/>
                  </a:lnTo>
                  <a:lnTo>
                    <a:pt x="764" y="1162"/>
                  </a:lnTo>
                  <a:lnTo>
                    <a:pt x="779" y="1177"/>
                  </a:lnTo>
                  <a:lnTo>
                    <a:pt x="793" y="1191"/>
                  </a:lnTo>
                  <a:lnTo>
                    <a:pt x="807" y="1191"/>
                  </a:lnTo>
                  <a:lnTo>
                    <a:pt x="836" y="1191"/>
                  </a:lnTo>
                  <a:lnTo>
                    <a:pt x="836" y="1222"/>
                  </a:lnTo>
                  <a:lnTo>
                    <a:pt x="849" y="1206"/>
                  </a:lnTo>
                  <a:lnTo>
                    <a:pt x="865" y="1206"/>
                  </a:lnTo>
                  <a:lnTo>
                    <a:pt x="878" y="1191"/>
                  </a:lnTo>
                  <a:lnTo>
                    <a:pt x="894" y="1191"/>
                  </a:lnTo>
                  <a:lnTo>
                    <a:pt x="894" y="1206"/>
                  </a:lnTo>
                  <a:lnTo>
                    <a:pt x="894" y="1222"/>
                  </a:lnTo>
                  <a:lnTo>
                    <a:pt x="907" y="1222"/>
                  </a:lnTo>
                  <a:lnTo>
                    <a:pt x="921" y="1222"/>
                  </a:lnTo>
                  <a:lnTo>
                    <a:pt x="921" y="1233"/>
                  </a:lnTo>
                  <a:lnTo>
                    <a:pt x="921" y="1249"/>
                  </a:lnTo>
                  <a:lnTo>
                    <a:pt x="936" y="1233"/>
                  </a:lnTo>
                  <a:lnTo>
                    <a:pt x="952" y="1249"/>
                  </a:lnTo>
                  <a:lnTo>
                    <a:pt x="966" y="1262"/>
                  </a:lnTo>
                  <a:lnTo>
                    <a:pt x="966" y="1278"/>
                  </a:lnTo>
                  <a:lnTo>
                    <a:pt x="981" y="1293"/>
                  </a:lnTo>
                  <a:lnTo>
                    <a:pt x="995" y="1293"/>
                  </a:lnTo>
                  <a:lnTo>
                    <a:pt x="1008" y="1293"/>
                  </a:lnTo>
                  <a:lnTo>
                    <a:pt x="1024" y="1293"/>
                  </a:lnTo>
                  <a:lnTo>
                    <a:pt x="1037" y="1293"/>
                  </a:lnTo>
                  <a:lnTo>
                    <a:pt x="1053" y="1293"/>
                  </a:lnTo>
                  <a:lnTo>
                    <a:pt x="1068" y="1278"/>
                  </a:lnTo>
                  <a:lnTo>
                    <a:pt x="1068" y="1262"/>
                  </a:lnTo>
                  <a:lnTo>
                    <a:pt x="1068" y="1249"/>
                  </a:lnTo>
                  <a:lnTo>
                    <a:pt x="1082" y="1249"/>
                  </a:lnTo>
                  <a:lnTo>
                    <a:pt x="1096" y="1249"/>
                  </a:lnTo>
                  <a:lnTo>
                    <a:pt x="1109" y="1249"/>
                  </a:lnTo>
                  <a:lnTo>
                    <a:pt x="1109" y="1233"/>
                  </a:lnTo>
                  <a:lnTo>
                    <a:pt x="1125" y="1233"/>
                  </a:lnTo>
                  <a:lnTo>
                    <a:pt x="1138" y="1233"/>
                  </a:lnTo>
                  <a:lnTo>
                    <a:pt x="1138" y="1249"/>
                  </a:lnTo>
                  <a:lnTo>
                    <a:pt x="1167" y="1222"/>
                  </a:lnTo>
                  <a:lnTo>
                    <a:pt x="1154" y="1233"/>
                  </a:lnTo>
                  <a:lnTo>
                    <a:pt x="1167" y="1222"/>
                  </a:lnTo>
                  <a:close/>
                </a:path>
              </a:pathLst>
            </a:custGeom>
            <a:grpFill/>
            <a:ln w="3175" cmpd="sng">
              <a:solidFill>
                <a:schemeClr val="bg1"/>
              </a:solidFill>
              <a:round/>
              <a:headEnd/>
              <a:tailEnd/>
            </a:ln>
          </p:spPr>
          <p:txBody>
            <a:bodyPr/>
            <a:lstStyle/>
            <a:p>
              <a:endParaRPr lang="da-DK"/>
            </a:p>
          </p:txBody>
        </p:sp>
        <p:sp>
          <p:nvSpPr>
            <p:cNvPr id="90" name="Freeform 1131">
              <a:extLst>
                <a:ext uri="{FF2B5EF4-FFF2-40B4-BE49-F238E27FC236}">
                  <a16:creationId xmlns:a16="http://schemas.microsoft.com/office/drawing/2014/main" id="{ED570DA2-9261-AE19-A9B2-5218CA6070EE}"/>
                </a:ext>
              </a:extLst>
            </p:cNvPr>
            <p:cNvSpPr>
              <a:spLocks/>
            </p:cNvSpPr>
            <p:nvPr>
              <p:custDataLst>
                <p:tags r:id="rId69"/>
              </p:custDataLst>
            </p:nvPr>
          </p:nvSpPr>
          <p:spPr bwMode="auto">
            <a:xfrm>
              <a:off x="4295140" y="4438551"/>
              <a:ext cx="1477248" cy="1400889"/>
            </a:xfrm>
            <a:custGeom>
              <a:avLst/>
              <a:gdLst>
                <a:gd name="T0" fmla="*/ 153220 w 1355"/>
                <a:gd name="T1" fmla="*/ 458286 h 1421"/>
                <a:gd name="T2" fmla="*/ 236902 w 1355"/>
                <a:gd name="T3" fmla="*/ 382615 h 1421"/>
                <a:gd name="T4" fmla="*/ 390122 w 1355"/>
                <a:gd name="T5" fmla="*/ 429510 h 1421"/>
                <a:gd name="T6" fmla="*/ 424302 w 1355"/>
                <a:gd name="T7" fmla="*/ 413523 h 1421"/>
                <a:gd name="T8" fmla="*/ 474982 w 1355"/>
                <a:gd name="T9" fmla="*/ 552075 h 1421"/>
                <a:gd name="T10" fmla="*/ 594023 w 1355"/>
                <a:gd name="T11" fmla="*/ 733257 h 1421"/>
                <a:gd name="T12" fmla="*/ 796745 w 1355"/>
                <a:gd name="T13" fmla="*/ 931493 h 1421"/>
                <a:gd name="T14" fmla="*/ 900463 w 1355"/>
                <a:gd name="T15" fmla="*/ 979453 h 1421"/>
                <a:gd name="T16" fmla="*/ 1037182 w 1355"/>
                <a:gd name="T17" fmla="*/ 1087097 h 1421"/>
                <a:gd name="T18" fmla="*/ 1069005 w 1355"/>
                <a:gd name="T19" fmla="*/ 1161701 h 1421"/>
                <a:gd name="T20" fmla="*/ 1190402 w 1355"/>
                <a:gd name="T21" fmla="*/ 1208596 h 1421"/>
                <a:gd name="T22" fmla="*/ 1241083 w 1355"/>
                <a:gd name="T23" fmla="*/ 1378055 h 1421"/>
                <a:gd name="T24" fmla="*/ 1190402 w 1355"/>
                <a:gd name="T25" fmla="*/ 1423884 h 1421"/>
                <a:gd name="T26" fmla="*/ 1156223 w 1355"/>
                <a:gd name="T27" fmla="*/ 1500620 h 1421"/>
                <a:gd name="T28" fmla="*/ 1241083 w 1355"/>
                <a:gd name="T29" fmla="*/ 1500620 h 1421"/>
                <a:gd name="T30" fmla="*/ 1290585 w 1355"/>
                <a:gd name="T31" fmla="*/ 1423884 h 1421"/>
                <a:gd name="T32" fmla="*/ 1375445 w 1355"/>
                <a:gd name="T33" fmla="*/ 1378055 h 1421"/>
                <a:gd name="T34" fmla="*/ 1394303 w 1355"/>
                <a:gd name="T35" fmla="*/ 1302385 h 1421"/>
                <a:gd name="T36" fmla="*/ 1324765 w 1355"/>
                <a:gd name="T37" fmla="*/ 1241635 h 1421"/>
                <a:gd name="T38" fmla="*/ 1360123 w 1355"/>
                <a:gd name="T39" fmla="*/ 1148912 h 1421"/>
                <a:gd name="T40" fmla="*/ 1409625 w 1355"/>
                <a:gd name="T41" fmla="*/ 1118004 h 1421"/>
                <a:gd name="T42" fmla="*/ 1496843 w 1355"/>
                <a:gd name="T43" fmla="*/ 1148912 h 1421"/>
                <a:gd name="T44" fmla="*/ 1528665 w 1355"/>
                <a:gd name="T45" fmla="*/ 1208596 h 1421"/>
                <a:gd name="T46" fmla="*/ 1597025 w 1355"/>
                <a:gd name="T47" fmla="*/ 1177688 h 1421"/>
                <a:gd name="T48" fmla="*/ 1528665 w 1355"/>
                <a:gd name="T49" fmla="*/ 1070044 h 1421"/>
                <a:gd name="T50" fmla="*/ 1375445 w 1355"/>
                <a:gd name="T51" fmla="*/ 1008229 h 1421"/>
                <a:gd name="T52" fmla="*/ 1275263 w 1355"/>
                <a:gd name="T53" fmla="*/ 962400 h 1421"/>
                <a:gd name="T54" fmla="*/ 1275263 w 1355"/>
                <a:gd name="T55" fmla="*/ 917638 h 1421"/>
                <a:gd name="T56" fmla="*/ 1122043 w 1355"/>
                <a:gd name="T57" fmla="*/ 871809 h 1421"/>
                <a:gd name="T58" fmla="*/ 1003002 w 1355"/>
                <a:gd name="T59" fmla="*/ 750310 h 1421"/>
                <a:gd name="T60" fmla="*/ 949965 w 1355"/>
                <a:gd name="T61" fmla="*/ 611758 h 1421"/>
                <a:gd name="T62" fmla="*/ 883962 w 1355"/>
                <a:gd name="T63" fmla="*/ 535022 h 1421"/>
                <a:gd name="T64" fmla="*/ 781423 w 1355"/>
                <a:gd name="T65" fmla="*/ 473207 h 1421"/>
                <a:gd name="T66" fmla="*/ 781423 w 1355"/>
                <a:gd name="T67" fmla="*/ 382615 h 1421"/>
                <a:gd name="T68" fmla="*/ 781423 w 1355"/>
                <a:gd name="T69" fmla="*/ 319734 h 1421"/>
                <a:gd name="T70" fmla="*/ 796745 w 1355"/>
                <a:gd name="T71" fmla="*/ 260051 h 1421"/>
                <a:gd name="T72" fmla="*/ 900463 w 1355"/>
                <a:gd name="T73" fmla="*/ 244064 h 1421"/>
                <a:gd name="T74" fmla="*/ 949965 w 1355"/>
                <a:gd name="T75" fmla="*/ 244064 h 1421"/>
                <a:gd name="T76" fmla="*/ 985323 w 1355"/>
                <a:gd name="T77" fmla="*/ 198235 h 1421"/>
                <a:gd name="T78" fmla="*/ 985323 w 1355"/>
                <a:gd name="T79" fmla="*/ 121499 h 1421"/>
                <a:gd name="T80" fmla="*/ 900463 w 1355"/>
                <a:gd name="T81" fmla="*/ 90591 h 1421"/>
                <a:gd name="T82" fmla="*/ 832103 w 1355"/>
                <a:gd name="T83" fmla="*/ 44763 h 1421"/>
                <a:gd name="T84" fmla="*/ 730742 w 1355"/>
                <a:gd name="T85" fmla="*/ 13855 h 1421"/>
                <a:gd name="T86" fmla="*/ 645882 w 1355"/>
                <a:gd name="T87" fmla="*/ 30908 h 1421"/>
                <a:gd name="T88" fmla="*/ 594023 w 1355"/>
                <a:gd name="T89" fmla="*/ 0 h 1421"/>
                <a:gd name="T90" fmla="*/ 559843 w 1355"/>
                <a:gd name="T91" fmla="*/ 44763 h 1421"/>
                <a:gd name="T92" fmla="*/ 509162 w 1355"/>
                <a:gd name="T93" fmla="*/ 90591 h 1421"/>
                <a:gd name="T94" fmla="*/ 440802 w 1355"/>
                <a:gd name="T95" fmla="*/ 59684 h 1421"/>
                <a:gd name="T96" fmla="*/ 390122 w 1355"/>
                <a:gd name="T97" fmla="*/ 90591 h 1421"/>
                <a:gd name="T98" fmla="*/ 321762 w 1355"/>
                <a:gd name="T99" fmla="*/ 107644 h 1421"/>
                <a:gd name="T100" fmla="*/ 271082 w 1355"/>
                <a:gd name="T101" fmla="*/ 44763 h 1421"/>
                <a:gd name="T102" fmla="*/ 187400 w 1355"/>
                <a:gd name="T103" fmla="*/ 107644 h 1421"/>
                <a:gd name="T104" fmla="*/ 68360 w 1355"/>
                <a:gd name="T105" fmla="*/ 121499 h 1421"/>
                <a:gd name="T106" fmla="*/ 83682 w 1355"/>
                <a:gd name="T107" fmla="*/ 198235 h 1421"/>
                <a:gd name="T108" fmla="*/ 0 w 1355"/>
                <a:gd name="T109" fmla="*/ 229143 h 1421"/>
                <a:gd name="T110" fmla="*/ 49502 w 1355"/>
                <a:gd name="T111" fmla="*/ 288827 h 1421"/>
                <a:gd name="T112" fmla="*/ 34180 w 1355"/>
                <a:gd name="T113" fmla="*/ 382615 h 1421"/>
                <a:gd name="T114" fmla="*/ 100182 w 1355"/>
                <a:gd name="T115" fmla="*/ 444431 h 1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55" h="1421">
                  <a:moveTo>
                    <a:pt x="58" y="459"/>
                  </a:moveTo>
                  <a:lnTo>
                    <a:pt x="85" y="444"/>
                  </a:lnTo>
                  <a:lnTo>
                    <a:pt x="100" y="430"/>
                  </a:lnTo>
                  <a:lnTo>
                    <a:pt x="114" y="430"/>
                  </a:lnTo>
                  <a:lnTo>
                    <a:pt x="130" y="430"/>
                  </a:lnTo>
                  <a:lnTo>
                    <a:pt x="159" y="417"/>
                  </a:lnTo>
                  <a:lnTo>
                    <a:pt x="172" y="403"/>
                  </a:lnTo>
                  <a:lnTo>
                    <a:pt x="172" y="388"/>
                  </a:lnTo>
                  <a:lnTo>
                    <a:pt x="186" y="372"/>
                  </a:lnTo>
                  <a:lnTo>
                    <a:pt x="201" y="359"/>
                  </a:lnTo>
                  <a:lnTo>
                    <a:pt x="230" y="359"/>
                  </a:lnTo>
                  <a:lnTo>
                    <a:pt x="246" y="359"/>
                  </a:lnTo>
                  <a:lnTo>
                    <a:pt x="273" y="388"/>
                  </a:lnTo>
                  <a:lnTo>
                    <a:pt x="289" y="372"/>
                  </a:lnTo>
                  <a:lnTo>
                    <a:pt x="331" y="403"/>
                  </a:lnTo>
                  <a:lnTo>
                    <a:pt x="331" y="388"/>
                  </a:lnTo>
                  <a:lnTo>
                    <a:pt x="347" y="372"/>
                  </a:lnTo>
                  <a:lnTo>
                    <a:pt x="360" y="372"/>
                  </a:lnTo>
                  <a:lnTo>
                    <a:pt x="374" y="372"/>
                  </a:lnTo>
                  <a:lnTo>
                    <a:pt x="360" y="388"/>
                  </a:lnTo>
                  <a:lnTo>
                    <a:pt x="360" y="403"/>
                  </a:lnTo>
                  <a:lnTo>
                    <a:pt x="374" y="417"/>
                  </a:lnTo>
                  <a:lnTo>
                    <a:pt x="360" y="430"/>
                  </a:lnTo>
                  <a:lnTo>
                    <a:pt x="389" y="459"/>
                  </a:lnTo>
                  <a:lnTo>
                    <a:pt x="403" y="518"/>
                  </a:lnTo>
                  <a:lnTo>
                    <a:pt x="419" y="574"/>
                  </a:lnTo>
                  <a:lnTo>
                    <a:pt x="432" y="589"/>
                  </a:lnTo>
                  <a:lnTo>
                    <a:pt x="461" y="659"/>
                  </a:lnTo>
                  <a:lnTo>
                    <a:pt x="475" y="659"/>
                  </a:lnTo>
                  <a:lnTo>
                    <a:pt x="504" y="688"/>
                  </a:lnTo>
                  <a:lnTo>
                    <a:pt x="519" y="717"/>
                  </a:lnTo>
                  <a:lnTo>
                    <a:pt x="533" y="731"/>
                  </a:lnTo>
                  <a:lnTo>
                    <a:pt x="548" y="746"/>
                  </a:lnTo>
                  <a:lnTo>
                    <a:pt x="591" y="789"/>
                  </a:lnTo>
                  <a:lnTo>
                    <a:pt x="676" y="874"/>
                  </a:lnTo>
                  <a:lnTo>
                    <a:pt x="692" y="874"/>
                  </a:lnTo>
                  <a:lnTo>
                    <a:pt x="706" y="903"/>
                  </a:lnTo>
                  <a:lnTo>
                    <a:pt x="735" y="903"/>
                  </a:lnTo>
                  <a:lnTo>
                    <a:pt x="750" y="933"/>
                  </a:lnTo>
                  <a:lnTo>
                    <a:pt x="764" y="919"/>
                  </a:lnTo>
                  <a:lnTo>
                    <a:pt x="806" y="962"/>
                  </a:lnTo>
                  <a:lnTo>
                    <a:pt x="822" y="977"/>
                  </a:lnTo>
                  <a:lnTo>
                    <a:pt x="836" y="991"/>
                  </a:lnTo>
                  <a:lnTo>
                    <a:pt x="851" y="991"/>
                  </a:lnTo>
                  <a:lnTo>
                    <a:pt x="880" y="1020"/>
                  </a:lnTo>
                  <a:lnTo>
                    <a:pt x="894" y="1020"/>
                  </a:lnTo>
                  <a:lnTo>
                    <a:pt x="907" y="1033"/>
                  </a:lnTo>
                  <a:lnTo>
                    <a:pt x="907" y="1063"/>
                  </a:lnTo>
                  <a:lnTo>
                    <a:pt x="907" y="1078"/>
                  </a:lnTo>
                  <a:lnTo>
                    <a:pt x="907" y="1090"/>
                  </a:lnTo>
                  <a:lnTo>
                    <a:pt x="938" y="1105"/>
                  </a:lnTo>
                  <a:lnTo>
                    <a:pt x="952" y="1105"/>
                  </a:lnTo>
                  <a:lnTo>
                    <a:pt x="965" y="1105"/>
                  </a:lnTo>
                  <a:lnTo>
                    <a:pt x="995" y="1119"/>
                  </a:lnTo>
                  <a:lnTo>
                    <a:pt x="1010" y="1134"/>
                  </a:lnTo>
                  <a:lnTo>
                    <a:pt x="1010" y="1148"/>
                  </a:lnTo>
                  <a:lnTo>
                    <a:pt x="1024" y="1163"/>
                  </a:lnTo>
                  <a:lnTo>
                    <a:pt x="1037" y="1206"/>
                  </a:lnTo>
                  <a:lnTo>
                    <a:pt x="1053" y="1249"/>
                  </a:lnTo>
                  <a:lnTo>
                    <a:pt x="1053" y="1293"/>
                  </a:lnTo>
                  <a:lnTo>
                    <a:pt x="1037" y="1307"/>
                  </a:lnTo>
                  <a:lnTo>
                    <a:pt x="1024" y="1307"/>
                  </a:lnTo>
                  <a:lnTo>
                    <a:pt x="1010" y="1307"/>
                  </a:lnTo>
                  <a:lnTo>
                    <a:pt x="1010" y="1320"/>
                  </a:lnTo>
                  <a:lnTo>
                    <a:pt x="1010" y="1336"/>
                  </a:lnTo>
                  <a:lnTo>
                    <a:pt x="1010" y="1350"/>
                  </a:lnTo>
                  <a:lnTo>
                    <a:pt x="1010" y="1363"/>
                  </a:lnTo>
                  <a:lnTo>
                    <a:pt x="995" y="1379"/>
                  </a:lnTo>
                  <a:lnTo>
                    <a:pt x="981" y="1392"/>
                  </a:lnTo>
                  <a:lnTo>
                    <a:pt x="981" y="1408"/>
                  </a:lnTo>
                  <a:lnTo>
                    <a:pt x="995" y="1421"/>
                  </a:lnTo>
                  <a:lnTo>
                    <a:pt x="1010" y="1421"/>
                  </a:lnTo>
                  <a:lnTo>
                    <a:pt x="1024" y="1421"/>
                  </a:lnTo>
                  <a:lnTo>
                    <a:pt x="1037" y="1421"/>
                  </a:lnTo>
                  <a:lnTo>
                    <a:pt x="1053" y="1408"/>
                  </a:lnTo>
                  <a:lnTo>
                    <a:pt x="1066" y="1408"/>
                  </a:lnTo>
                  <a:lnTo>
                    <a:pt x="1066" y="1392"/>
                  </a:lnTo>
                  <a:lnTo>
                    <a:pt x="1095" y="1379"/>
                  </a:lnTo>
                  <a:lnTo>
                    <a:pt x="1095" y="1363"/>
                  </a:lnTo>
                  <a:lnTo>
                    <a:pt x="1095" y="1336"/>
                  </a:lnTo>
                  <a:lnTo>
                    <a:pt x="1111" y="1320"/>
                  </a:lnTo>
                  <a:lnTo>
                    <a:pt x="1124" y="1307"/>
                  </a:lnTo>
                  <a:lnTo>
                    <a:pt x="1138" y="1293"/>
                  </a:lnTo>
                  <a:lnTo>
                    <a:pt x="1154" y="1293"/>
                  </a:lnTo>
                  <a:lnTo>
                    <a:pt x="1167" y="1293"/>
                  </a:lnTo>
                  <a:lnTo>
                    <a:pt x="1183" y="1293"/>
                  </a:lnTo>
                  <a:lnTo>
                    <a:pt x="1183" y="1278"/>
                  </a:lnTo>
                  <a:lnTo>
                    <a:pt x="1183" y="1264"/>
                  </a:lnTo>
                  <a:lnTo>
                    <a:pt x="1183" y="1249"/>
                  </a:lnTo>
                  <a:lnTo>
                    <a:pt x="1183" y="1222"/>
                  </a:lnTo>
                  <a:lnTo>
                    <a:pt x="1183" y="1206"/>
                  </a:lnTo>
                  <a:lnTo>
                    <a:pt x="1183" y="1191"/>
                  </a:lnTo>
                  <a:lnTo>
                    <a:pt x="1167" y="1177"/>
                  </a:lnTo>
                  <a:lnTo>
                    <a:pt x="1138" y="1191"/>
                  </a:lnTo>
                  <a:lnTo>
                    <a:pt x="1124" y="1165"/>
                  </a:lnTo>
                  <a:lnTo>
                    <a:pt x="1121" y="1128"/>
                  </a:lnTo>
                  <a:lnTo>
                    <a:pt x="1124" y="1105"/>
                  </a:lnTo>
                  <a:lnTo>
                    <a:pt x="1138" y="1105"/>
                  </a:lnTo>
                  <a:lnTo>
                    <a:pt x="1138" y="1090"/>
                  </a:lnTo>
                  <a:lnTo>
                    <a:pt x="1154" y="1078"/>
                  </a:lnTo>
                  <a:lnTo>
                    <a:pt x="1138" y="1078"/>
                  </a:lnTo>
                  <a:lnTo>
                    <a:pt x="1154" y="1063"/>
                  </a:lnTo>
                  <a:lnTo>
                    <a:pt x="1167" y="1049"/>
                  </a:lnTo>
                  <a:lnTo>
                    <a:pt x="1183" y="1049"/>
                  </a:lnTo>
                  <a:lnTo>
                    <a:pt x="1196" y="1049"/>
                  </a:lnTo>
                  <a:lnTo>
                    <a:pt x="1196" y="1063"/>
                  </a:lnTo>
                  <a:lnTo>
                    <a:pt x="1225" y="1078"/>
                  </a:lnTo>
                  <a:lnTo>
                    <a:pt x="1239" y="1078"/>
                  </a:lnTo>
                  <a:lnTo>
                    <a:pt x="1254" y="1078"/>
                  </a:lnTo>
                  <a:lnTo>
                    <a:pt x="1270" y="1078"/>
                  </a:lnTo>
                  <a:lnTo>
                    <a:pt x="1284" y="1078"/>
                  </a:lnTo>
                  <a:lnTo>
                    <a:pt x="1284" y="1090"/>
                  </a:lnTo>
                  <a:lnTo>
                    <a:pt x="1284" y="1105"/>
                  </a:lnTo>
                  <a:lnTo>
                    <a:pt x="1297" y="1119"/>
                  </a:lnTo>
                  <a:lnTo>
                    <a:pt x="1297" y="1134"/>
                  </a:lnTo>
                  <a:lnTo>
                    <a:pt x="1313" y="1148"/>
                  </a:lnTo>
                  <a:lnTo>
                    <a:pt x="1326" y="1148"/>
                  </a:lnTo>
                  <a:lnTo>
                    <a:pt x="1342" y="1148"/>
                  </a:lnTo>
                  <a:lnTo>
                    <a:pt x="1355" y="1134"/>
                  </a:lnTo>
                  <a:lnTo>
                    <a:pt x="1355" y="1105"/>
                  </a:lnTo>
                  <a:lnTo>
                    <a:pt x="1355" y="1078"/>
                  </a:lnTo>
                  <a:lnTo>
                    <a:pt x="1355" y="1063"/>
                  </a:lnTo>
                  <a:lnTo>
                    <a:pt x="1326" y="1049"/>
                  </a:lnTo>
                  <a:lnTo>
                    <a:pt x="1313" y="1020"/>
                  </a:lnTo>
                  <a:lnTo>
                    <a:pt x="1297" y="1004"/>
                  </a:lnTo>
                  <a:lnTo>
                    <a:pt x="1270" y="991"/>
                  </a:lnTo>
                  <a:lnTo>
                    <a:pt x="1239" y="991"/>
                  </a:lnTo>
                  <a:lnTo>
                    <a:pt x="1225" y="977"/>
                  </a:lnTo>
                  <a:lnTo>
                    <a:pt x="1212" y="962"/>
                  </a:lnTo>
                  <a:lnTo>
                    <a:pt x="1167" y="946"/>
                  </a:lnTo>
                  <a:lnTo>
                    <a:pt x="1154" y="933"/>
                  </a:lnTo>
                  <a:lnTo>
                    <a:pt x="1138" y="919"/>
                  </a:lnTo>
                  <a:lnTo>
                    <a:pt x="1124" y="919"/>
                  </a:lnTo>
                  <a:lnTo>
                    <a:pt x="1095" y="919"/>
                  </a:lnTo>
                  <a:lnTo>
                    <a:pt x="1082" y="903"/>
                  </a:lnTo>
                  <a:lnTo>
                    <a:pt x="1053" y="890"/>
                  </a:lnTo>
                  <a:lnTo>
                    <a:pt x="1037" y="890"/>
                  </a:lnTo>
                  <a:lnTo>
                    <a:pt x="1053" y="874"/>
                  </a:lnTo>
                  <a:lnTo>
                    <a:pt x="1066" y="874"/>
                  </a:lnTo>
                  <a:lnTo>
                    <a:pt x="1082" y="861"/>
                  </a:lnTo>
                  <a:lnTo>
                    <a:pt x="1082" y="832"/>
                  </a:lnTo>
                  <a:lnTo>
                    <a:pt x="1037" y="818"/>
                  </a:lnTo>
                  <a:lnTo>
                    <a:pt x="1024" y="818"/>
                  </a:lnTo>
                  <a:lnTo>
                    <a:pt x="981" y="818"/>
                  </a:lnTo>
                  <a:lnTo>
                    <a:pt x="952" y="818"/>
                  </a:lnTo>
                  <a:lnTo>
                    <a:pt x="923" y="805"/>
                  </a:lnTo>
                  <a:lnTo>
                    <a:pt x="907" y="776"/>
                  </a:lnTo>
                  <a:lnTo>
                    <a:pt x="894" y="760"/>
                  </a:lnTo>
                  <a:lnTo>
                    <a:pt x="865" y="731"/>
                  </a:lnTo>
                  <a:lnTo>
                    <a:pt x="851" y="704"/>
                  </a:lnTo>
                  <a:lnTo>
                    <a:pt x="822" y="675"/>
                  </a:lnTo>
                  <a:lnTo>
                    <a:pt x="822" y="646"/>
                  </a:lnTo>
                  <a:lnTo>
                    <a:pt x="836" y="632"/>
                  </a:lnTo>
                  <a:lnTo>
                    <a:pt x="822" y="603"/>
                  </a:lnTo>
                  <a:lnTo>
                    <a:pt x="806" y="574"/>
                  </a:lnTo>
                  <a:lnTo>
                    <a:pt x="806" y="560"/>
                  </a:lnTo>
                  <a:lnTo>
                    <a:pt x="793" y="545"/>
                  </a:lnTo>
                  <a:lnTo>
                    <a:pt x="793" y="518"/>
                  </a:lnTo>
                  <a:lnTo>
                    <a:pt x="777" y="518"/>
                  </a:lnTo>
                  <a:lnTo>
                    <a:pt x="750" y="502"/>
                  </a:lnTo>
                  <a:lnTo>
                    <a:pt x="721" y="488"/>
                  </a:lnTo>
                  <a:lnTo>
                    <a:pt x="706" y="488"/>
                  </a:lnTo>
                  <a:lnTo>
                    <a:pt x="676" y="473"/>
                  </a:lnTo>
                  <a:lnTo>
                    <a:pt x="676" y="459"/>
                  </a:lnTo>
                  <a:lnTo>
                    <a:pt x="663" y="444"/>
                  </a:lnTo>
                  <a:lnTo>
                    <a:pt x="663" y="430"/>
                  </a:lnTo>
                  <a:lnTo>
                    <a:pt x="649" y="403"/>
                  </a:lnTo>
                  <a:lnTo>
                    <a:pt x="663" y="388"/>
                  </a:lnTo>
                  <a:lnTo>
                    <a:pt x="663" y="372"/>
                  </a:lnTo>
                  <a:lnTo>
                    <a:pt x="663" y="359"/>
                  </a:lnTo>
                  <a:lnTo>
                    <a:pt x="676" y="345"/>
                  </a:lnTo>
                  <a:lnTo>
                    <a:pt x="692" y="329"/>
                  </a:lnTo>
                  <a:lnTo>
                    <a:pt x="692" y="316"/>
                  </a:lnTo>
                  <a:lnTo>
                    <a:pt x="676" y="316"/>
                  </a:lnTo>
                  <a:lnTo>
                    <a:pt x="663" y="300"/>
                  </a:lnTo>
                  <a:lnTo>
                    <a:pt x="663" y="287"/>
                  </a:lnTo>
                  <a:lnTo>
                    <a:pt x="649" y="287"/>
                  </a:lnTo>
                  <a:lnTo>
                    <a:pt x="663" y="271"/>
                  </a:lnTo>
                  <a:lnTo>
                    <a:pt x="676" y="271"/>
                  </a:lnTo>
                  <a:lnTo>
                    <a:pt x="676" y="244"/>
                  </a:lnTo>
                  <a:lnTo>
                    <a:pt x="706" y="244"/>
                  </a:lnTo>
                  <a:lnTo>
                    <a:pt x="721" y="244"/>
                  </a:lnTo>
                  <a:lnTo>
                    <a:pt x="735" y="244"/>
                  </a:lnTo>
                  <a:lnTo>
                    <a:pt x="750" y="244"/>
                  </a:lnTo>
                  <a:lnTo>
                    <a:pt x="764" y="229"/>
                  </a:lnTo>
                  <a:lnTo>
                    <a:pt x="777" y="229"/>
                  </a:lnTo>
                  <a:lnTo>
                    <a:pt x="777" y="215"/>
                  </a:lnTo>
                  <a:lnTo>
                    <a:pt x="793" y="215"/>
                  </a:lnTo>
                  <a:lnTo>
                    <a:pt x="806" y="215"/>
                  </a:lnTo>
                  <a:lnTo>
                    <a:pt x="806" y="229"/>
                  </a:lnTo>
                  <a:lnTo>
                    <a:pt x="822" y="244"/>
                  </a:lnTo>
                  <a:lnTo>
                    <a:pt x="822" y="215"/>
                  </a:lnTo>
                  <a:lnTo>
                    <a:pt x="836" y="215"/>
                  </a:lnTo>
                  <a:lnTo>
                    <a:pt x="851" y="200"/>
                  </a:lnTo>
                  <a:lnTo>
                    <a:pt x="836" y="186"/>
                  </a:lnTo>
                  <a:lnTo>
                    <a:pt x="822" y="172"/>
                  </a:lnTo>
                  <a:lnTo>
                    <a:pt x="851" y="159"/>
                  </a:lnTo>
                  <a:lnTo>
                    <a:pt x="851" y="145"/>
                  </a:lnTo>
                  <a:lnTo>
                    <a:pt x="836" y="130"/>
                  </a:lnTo>
                  <a:lnTo>
                    <a:pt x="836" y="114"/>
                  </a:lnTo>
                  <a:lnTo>
                    <a:pt x="836" y="101"/>
                  </a:lnTo>
                  <a:lnTo>
                    <a:pt x="822" y="101"/>
                  </a:lnTo>
                  <a:lnTo>
                    <a:pt x="806" y="85"/>
                  </a:lnTo>
                  <a:lnTo>
                    <a:pt x="777" y="85"/>
                  </a:lnTo>
                  <a:lnTo>
                    <a:pt x="764" y="85"/>
                  </a:lnTo>
                  <a:lnTo>
                    <a:pt x="750" y="85"/>
                  </a:lnTo>
                  <a:lnTo>
                    <a:pt x="735" y="85"/>
                  </a:lnTo>
                  <a:lnTo>
                    <a:pt x="721" y="72"/>
                  </a:lnTo>
                  <a:lnTo>
                    <a:pt x="706" y="56"/>
                  </a:lnTo>
                  <a:lnTo>
                    <a:pt x="706" y="42"/>
                  </a:lnTo>
                  <a:lnTo>
                    <a:pt x="692" y="29"/>
                  </a:lnTo>
                  <a:lnTo>
                    <a:pt x="676" y="13"/>
                  </a:lnTo>
                  <a:lnTo>
                    <a:pt x="649" y="13"/>
                  </a:lnTo>
                  <a:lnTo>
                    <a:pt x="636" y="13"/>
                  </a:lnTo>
                  <a:lnTo>
                    <a:pt x="620" y="13"/>
                  </a:lnTo>
                  <a:lnTo>
                    <a:pt x="605" y="13"/>
                  </a:lnTo>
                  <a:lnTo>
                    <a:pt x="591" y="0"/>
                  </a:lnTo>
                  <a:lnTo>
                    <a:pt x="578" y="0"/>
                  </a:lnTo>
                  <a:lnTo>
                    <a:pt x="578" y="13"/>
                  </a:lnTo>
                  <a:lnTo>
                    <a:pt x="548" y="29"/>
                  </a:lnTo>
                  <a:lnTo>
                    <a:pt x="533" y="29"/>
                  </a:lnTo>
                  <a:lnTo>
                    <a:pt x="519" y="29"/>
                  </a:lnTo>
                  <a:lnTo>
                    <a:pt x="519" y="13"/>
                  </a:lnTo>
                  <a:lnTo>
                    <a:pt x="519" y="0"/>
                  </a:lnTo>
                  <a:lnTo>
                    <a:pt x="504" y="0"/>
                  </a:lnTo>
                  <a:lnTo>
                    <a:pt x="488" y="0"/>
                  </a:lnTo>
                  <a:lnTo>
                    <a:pt x="488" y="13"/>
                  </a:lnTo>
                  <a:lnTo>
                    <a:pt x="488" y="29"/>
                  </a:lnTo>
                  <a:lnTo>
                    <a:pt x="488" y="42"/>
                  </a:lnTo>
                  <a:lnTo>
                    <a:pt x="475" y="42"/>
                  </a:lnTo>
                  <a:lnTo>
                    <a:pt x="461" y="29"/>
                  </a:lnTo>
                  <a:lnTo>
                    <a:pt x="448" y="42"/>
                  </a:lnTo>
                  <a:lnTo>
                    <a:pt x="432" y="56"/>
                  </a:lnTo>
                  <a:lnTo>
                    <a:pt x="448" y="72"/>
                  </a:lnTo>
                  <a:lnTo>
                    <a:pt x="432" y="85"/>
                  </a:lnTo>
                  <a:lnTo>
                    <a:pt x="419" y="72"/>
                  </a:lnTo>
                  <a:lnTo>
                    <a:pt x="403" y="72"/>
                  </a:lnTo>
                  <a:lnTo>
                    <a:pt x="389" y="72"/>
                  </a:lnTo>
                  <a:lnTo>
                    <a:pt x="374" y="72"/>
                  </a:lnTo>
                  <a:lnTo>
                    <a:pt x="374" y="56"/>
                  </a:lnTo>
                  <a:lnTo>
                    <a:pt x="360" y="42"/>
                  </a:lnTo>
                  <a:lnTo>
                    <a:pt x="347" y="42"/>
                  </a:lnTo>
                  <a:lnTo>
                    <a:pt x="347" y="56"/>
                  </a:lnTo>
                  <a:lnTo>
                    <a:pt x="347" y="85"/>
                  </a:lnTo>
                  <a:lnTo>
                    <a:pt x="331" y="85"/>
                  </a:lnTo>
                  <a:lnTo>
                    <a:pt x="318" y="101"/>
                  </a:lnTo>
                  <a:lnTo>
                    <a:pt x="302" y="114"/>
                  </a:lnTo>
                  <a:lnTo>
                    <a:pt x="302" y="130"/>
                  </a:lnTo>
                  <a:lnTo>
                    <a:pt x="289" y="114"/>
                  </a:lnTo>
                  <a:lnTo>
                    <a:pt x="273" y="101"/>
                  </a:lnTo>
                  <a:lnTo>
                    <a:pt x="260" y="85"/>
                  </a:lnTo>
                  <a:lnTo>
                    <a:pt x="260" y="72"/>
                  </a:lnTo>
                  <a:lnTo>
                    <a:pt x="260" y="56"/>
                  </a:lnTo>
                  <a:lnTo>
                    <a:pt x="246" y="42"/>
                  </a:lnTo>
                  <a:lnTo>
                    <a:pt x="230" y="42"/>
                  </a:lnTo>
                  <a:lnTo>
                    <a:pt x="215" y="56"/>
                  </a:lnTo>
                  <a:lnTo>
                    <a:pt x="215" y="72"/>
                  </a:lnTo>
                  <a:lnTo>
                    <a:pt x="201" y="101"/>
                  </a:lnTo>
                  <a:lnTo>
                    <a:pt x="186" y="101"/>
                  </a:lnTo>
                  <a:lnTo>
                    <a:pt x="159" y="101"/>
                  </a:lnTo>
                  <a:lnTo>
                    <a:pt x="143" y="85"/>
                  </a:lnTo>
                  <a:lnTo>
                    <a:pt x="85" y="101"/>
                  </a:lnTo>
                  <a:lnTo>
                    <a:pt x="71" y="101"/>
                  </a:lnTo>
                  <a:lnTo>
                    <a:pt x="71" y="114"/>
                  </a:lnTo>
                  <a:lnTo>
                    <a:pt x="58" y="114"/>
                  </a:lnTo>
                  <a:lnTo>
                    <a:pt x="58" y="130"/>
                  </a:lnTo>
                  <a:lnTo>
                    <a:pt x="71" y="145"/>
                  </a:lnTo>
                  <a:lnTo>
                    <a:pt x="71" y="159"/>
                  </a:lnTo>
                  <a:lnTo>
                    <a:pt x="85" y="172"/>
                  </a:lnTo>
                  <a:lnTo>
                    <a:pt x="71" y="186"/>
                  </a:lnTo>
                  <a:lnTo>
                    <a:pt x="58" y="200"/>
                  </a:lnTo>
                  <a:lnTo>
                    <a:pt x="42" y="215"/>
                  </a:lnTo>
                  <a:lnTo>
                    <a:pt x="29" y="215"/>
                  </a:lnTo>
                  <a:lnTo>
                    <a:pt x="13" y="215"/>
                  </a:lnTo>
                  <a:lnTo>
                    <a:pt x="0" y="215"/>
                  </a:lnTo>
                  <a:lnTo>
                    <a:pt x="0" y="229"/>
                  </a:lnTo>
                  <a:lnTo>
                    <a:pt x="13" y="244"/>
                  </a:lnTo>
                  <a:lnTo>
                    <a:pt x="29" y="244"/>
                  </a:lnTo>
                  <a:lnTo>
                    <a:pt x="42" y="258"/>
                  </a:lnTo>
                  <a:lnTo>
                    <a:pt x="42" y="271"/>
                  </a:lnTo>
                  <a:lnTo>
                    <a:pt x="42" y="287"/>
                  </a:lnTo>
                  <a:lnTo>
                    <a:pt x="29" y="300"/>
                  </a:lnTo>
                  <a:lnTo>
                    <a:pt x="29" y="316"/>
                  </a:lnTo>
                  <a:lnTo>
                    <a:pt x="29" y="345"/>
                  </a:lnTo>
                  <a:lnTo>
                    <a:pt x="29" y="359"/>
                  </a:lnTo>
                  <a:lnTo>
                    <a:pt x="42" y="388"/>
                  </a:lnTo>
                  <a:lnTo>
                    <a:pt x="58" y="388"/>
                  </a:lnTo>
                  <a:lnTo>
                    <a:pt x="85" y="388"/>
                  </a:lnTo>
                  <a:lnTo>
                    <a:pt x="100" y="403"/>
                  </a:lnTo>
                  <a:lnTo>
                    <a:pt x="85" y="417"/>
                  </a:lnTo>
                  <a:lnTo>
                    <a:pt x="85" y="430"/>
                  </a:lnTo>
                  <a:lnTo>
                    <a:pt x="71" y="444"/>
                  </a:lnTo>
                  <a:lnTo>
                    <a:pt x="58" y="459"/>
                  </a:lnTo>
                  <a:close/>
                </a:path>
              </a:pathLst>
            </a:custGeom>
            <a:grpFill/>
            <a:ln w="3175" cmpd="sng">
              <a:solidFill>
                <a:schemeClr val="bg1"/>
              </a:solidFill>
              <a:round/>
              <a:headEnd/>
              <a:tailEnd/>
            </a:ln>
          </p:spPr>
          <p:txBody>
            <a:bodyPr/>
            <a:lstStyle/>
            <a:p>
              <a:endParaRPr lang="da-DK"/>
            </a:p>
          </p:txBody>
        </p:sp>
        <p:sp>
          <p:nvSpPr>
            <p:cNvPr id="91" name="Freeform 1132">
              <a:extLst>
                <a:ext uri="{FF2B5EF4-FFF2-40B4-BE49-F238E27FC236}">
                  <a16:creationId xmlns:a16="http://schemas.microsoft.com/office/drawing/2014/main" id="{AD86C5D7-7996-1038-872D-5E1CE954D3DA}"/>
                </a:ext>
              </a:extLst>
            </p:cNvPr>
            <p:cNvSpPr>
              <a:spLocks/>
            </p:cNvSpPr>
            <p:nvPr>
              <p:custDataLst>
                <p:tags r:id="rId70"/>
              </p:custDataLst>
            </p:nvPr>
          </p:nvSpPr>
          <p:spPr bwMode="auto">
            <a:xfrm>
              <a:off x="6340673" y="2545735"/>
              <a:ext cx="452279" cy="308372"/>
            </a:xfrm>
            <a:custGeom>
              <a:avLst/>
              <a:gdLst>
                <a:gd name="T0" fmla="*/ 153907 w 413"/>
                <a:gd name="T1" fmla="*/ 271796 h 314"/>
                <a:gd name="T2" fmla="*/ 183504 w 413"/>
                <a:gd name="T3" fmla="*/ 271796 h 314"/>
                <a:gd name="T4" fmla="*/ 204814 w 413"/>
                <a:gd name="T5" fmla="*/ 256932 h 314"/>
                <a:gd name="T6" fmla="*/ 252170 w 413"/>
                <a:gd name="T7" fmla="*/ 271796 h 314"/>
                <a:gd name="T8" fmla="*/ 268745 w 413"/>
                <a:gd name="T9" fmla="*/ 302586 h 314"/>
                <a:gd name="T10" fmla="*/ 320836 w 413"/>
                <a:gd name="T11" fmla="*/ 302586 h 314"/>
                <a:gd name="T12" fmla="*/ 371744 w 413"/>
                <a:gd name="T13" fmla="*/ 317449 h 314"/>
                <a:gd name="T14" fmla="*/ 406077 w 413"/>
                <a:gd name="T15" fmla="*/ 317449 h 314"/>
                <a:gd name="T16" fmla="*/ 456985 w 413"/>
                <a:gd name="T17" fmla="*/ 286660 h 314"/>
                <a:gd name="T18" fmla="*/ 422652 w 413"/>
                <a:gd name="T19" fmla="*/ 271796 h 314"/>
                <a:gd name="T20" fmla="*/ 438042 w 413"/>
                <a:gd name="T21" fmla="*/ 241007 h 314"/>
                <a:gd name="T22" fmla="*/ 472375 w 413"/>
                <a:gd name="T23" fmla="*/ 271796 h 314"/>
                <a:gd name="T24" fmla="*/ 488950 w 413"/>
                <a:gd name="T25" fmla="*/ 241007 h 314"/>
                <a:gd name="T26" fmla="*/ 438042 w 413"/>
                <a:gd name="T27" fmla="*/ 214464 h 314"/>
                <a:gd name="T28" fmla="*/ 422652 w 413"/>
                <a:gd name="T29" fmla="*/ 150762 h 314"/>
                <a:gd name="T30" fmla="*/ 422652 w 413"/>
                <a:gd name="T31" fmla="*/ 107232 h 314"/>
                <a:gd name="T32" fmla="*/ 456985 w 413"/>
                <a:gd name="T33" fmla="*/ 61579 h 314"/>
                <a:gd name="T34" fmla="*/ 438042 w 413"/>
                <a:gd name="T35" fmla="*/ 16987 h 314"/>
                <a:gd name="T36" fmla="*/ 353986 w 413"/>
                <a:gd name="T37" fmla="*/ 16987 h 314"/>
                <a:gd name="T38" fmla="*/ 320836 w 413"/>
                <a:gd name="T39" fmla="*/ 0 h 314"/>
                <a:gd name="T40" fmla="*/ 268745 w 413"/>
                <a:gd name="T41" fmla="*/ 16987 h 314"/>
                <a:gd name="T42" fmla="*/ 234412 w 413"/>
                <a:gd name="T43" fmla="*/ 0 h 314"/>
                <a:gd name="T44" fmla="*/ 204814 w 413"/>
                <a:gd name="T45" fmla="*/ 0 h 314"/>
                <a:gd name="T46" fmla="*/ 168114 w 413"/>
                <a:gd name="T47" fmla="*/ 16987 h 314"/>
                <a:gd name="T48" fmla="*/ 119574 w 413"/>
                <a:gd name="T49" fmla="*/ 16987 h 314"/>
                <a:gd name="T50" fmla="*/ 82873 w 413"/>
                <a:gd name="T51" fmla="*/ 16987 h 314"/>
                <a:gd name="T52" fmla="*/ 66298 w 413"/>
                <a:gd name="T53" fmla="*/ 30789 h 314"/>
                <a:gd name="T54" fmla="*/ 50908 w 413"/>
                <a:gd name="T55" fmla="*/ 47777 h 314"/>
                <a:gd name="T56" fmla="*/ 16575 w 413"/>
                <a:gd name="T57" fmla="*/ 47777 h 314"/>
                <a:gd name="T58" fmla="*/ 0 w 413"/>
                <a:gd name="T59" fmla="*/ 76443 h 314"/>
                <a:gd name="T60" fmla="*/ 0 w 413"/>
                <a:gd name="T61" fmla="*/ 107232 h 314"/>
                <a:gd name="T62" fmla="*/ 34333 w 413"/>
                <a:gd name="T63" fmla="*/ 121034 h 314"/>
                <a:gd name="T64" fmla="*/ 16575 w 413"/>
                <a:gd name="T65" fmla="*/ 135898 h 314"/>
                <a:gd name="T66" fmla="*/ 16575 w 413"/>
                <a:gd name="T67" fmla="*/ 197477 h 314"/>
                <a:gd name="T68" fmla="*/ 66298 w 413"/>
                <a:gd name="T69" fmla="*/ 226143 h 314"/>
                <a:gd name="T70" fmla="*/ 82873 w 413"/>
                <a:gd name="T71" fmla="*/ 197477 h 314"/>
                <a:gd name="T72" fmla="*/ 119574 w 413"/>
                <a:gd name="T73" fmla="*/ 214464 h 314"/>
                <a:gd name="T74" fmla="*/ 100631 w 413"/>
                <a:gd name="T75" fmla="*/ 271796 h 314"/>
                <a:gd name="T76" fmla="*/ 82873 w 413"/>
                <a:gd name="T77" fmla="*/ 286660 h 314"/>
                <a:gd name="T78" fmla="*/ 82873 w 413"/>
                <a:gd name="T79" fmla="*/ 286660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13" h="314">
                  <a:moveTo>
                    <a:pt x="70" y="270"/>
                  </a:moveTo>
                  <a:lnTo>
                    <a:pt x="130" y="256"/>
                  </a:lnTo>
                  <a:lnTo>
                    <a:pt x="142" y="242"/>
                  </a:lnTo>
                  <a:lnTo>
                    <a:pt x="155" y="256"/>
                  </a:lnTo>
                  <a:lnTo>
                    <a:pt x="173" y="256"/>
                  </a:lnTo>
                  <a:lnTo>
                    <a:pt x="173" y="242"/>
                  </a:lnTo>
                  <a:lnTo>
                    <a:pt x="198" y="256"/>
                  </a:lnTo>
                  <a:lnTo>
                    <a:pt x="213" y="256"/>
                  </a:lnTo>
                  <a:lnTo>
                    <a:pt x="213" y="270"/>
                  </a:lnTo>
                  <a:lnTo>
                    <a:pt x="227" y="285"/>
                  </a:lnTo>
                  <a:lnTo>
                    <a:pt x="244" y="285"/>
                  </a:lnTo>
                  <a:lnTo>
                    <a:pt x="271" y="285"/>
                  </a:lnTo>
                  <a:lnTo>
                    <a:pt x="285" y="314"/>
                  </a:lnTo>
                  <a:lnTo>
                    <a:pt x="314" y="299"/>
                  </a:lnTo>
                  <a:lnTo>
                    <a:pt x="343" y="285"/>
                  </a:lnTo>
                  <a:lnTo>
                    <a:pt x="343" y="299"/>
                  </a:lnTo>
                  <a:lnTo>
                    <a:pt x="370" y="299"/>
                  </a:lnTo>
                  <a:lnTo>
                    <a:pt x="386" y="270"/>
                  </a:lnTo>
                  <a:lnTo>
                    <a:pt x="370" y="270"/>
                  </a:lnTo>
                  <a:lnTo>
                    <a:pt x="357" y="256"/>
                  </a:lnTo>
                  <a:lnTo>
                    <a:pt x="357" y="242"/>
                  </a:lnTo>
                  <a:lnTo>
                    <a:pt x="370" y="227"/>
                  </a:lnTo>
                  <a:lnTo>
                    <a:pt x="386" y="242"/>
                  </a:lnTo>
                  <a:lnTo>
                    <a:pt x="399" y="256"/>
                  </a:lnTo>
                  <a:lnTo>
                    <a:pt x="413" y="242"/>
                  </a:lnTo>
                  <a:lnTo>
                    <a:pt x="413" y="227"/>
                  </a:lnTo>
                  <a:lnTo>
                    <a:pt x="399" y="213"/>
                  </a:lnTo>
                  <a:lnTo>
                    <a:pt x="370" y="202"/>
                  </a:lnTo>
                  <a:lnTo>
                    <a:pt x="370" y="169"/>
                  </a:lnTo>
                  <a:lnTo>
                    <a:pt x="357" y="142"/>
                  </a:lnTo>
                  <a:lnTo>
                    <a:pt x="370" y="114"/>
                  </a:lnTo>
                  <a:lnTo>
                    <a:pt x="357" y="101"/>
                  </a:lnTo>
                  <a:lnTo>
                    <a:pt x="357" y="85"/>
                  </a:lnTo>
                  <a:lnTo>
                    <a:pt x="386" y="58"/>
                  </a:lnTo>
                  <a:lnTo>
                    <a:pt x="386" y="29"/>
                  </a:lnTo>
                  <a:lnTo>
                    <a:pt x="370" y="16"/>
                  </a:lnTo>
                  <a:lnTo>
                    <a:pt x="357" y="16"/>
                  </a:lnTo>
                  <a:lnTo>
                    <a:pt x="299" y="16"/>
                  </a:lnTo>
                  <a:lnTo>
                    <a:pt x="285" y="16"/>
                  </a:lnTo>
                  <a:lnTo>
                    <a:pt x="271" y="0"/>
                  </a:lnTo>
                  <a:lnTo>
                    <a:pt x="256" y="0"/>
                  </a:lnTo>
                  <a:lnTo>
                    <a:pt x="227" y="16"/>
                  </a:lnTo>
                  <a:lnTo>
                    <a:pt x="227" y="0"/>
                  </a:lnTo>
                  <a:lnTo>
                    <a:pt x="198" y="0"/>
                  </a:lnTo>
                  <a:lnTo>
                    <a:pt x="186" y="0"/>
                  </a:lnTo>
                  <a:lnTo>
                    <a:pt x="173" y="0"/>
                  </a:lnTo>
                  <a:lnTo>
                    <a:pt x="155" y="0"/>
                  </a:lnTo>
                  <a:lnTo>
                    <a:pt x="142" y="16"/>
                  </a:lnTo>
                  <a:lnTo>
                    <a:pt x="130" y="16"/>
                  </a:lnTo>
                  <a:lnTo>
                    <a:pt x="101" y="16"/>
                  </a:lnTo>
                  <a:lnTo>
                    <a:pt x="85" y="16"/>
                  </a:lnTo>
                  <a:lnTo>
                    <a:pt x="70" y="16"/>
                  </a:lnTo>
                  <a:lnTo>
                    <a:pt x="56" y="16"/>
                  </a:lnTo>
                  <a:lnTo>
                    <a:pt x="56" y="29"/>
                  </a:lnTo>
                  <a:lnTo>
                    <a:pt x="56" y="45"/>
                  </a:lnTo>
                  <a:lnTo>
                    <a:pt x="43" y="45"/>
                  </a:lnTo>
                  <a:lnTo>
                    <a:pt x="29" y="45"/>
                  </a:lnTo>
                  <a:lnTo>
                    <a:pt x="14" y="45"/>
                  </a:lnTo>
                  <a:lnTo>
                    <a:pt x="0" y="58"/>
                  </a:lnTo>
                  <a:lnTo>
                    <a:pt x="0" y="72"/>
                  </a:lnTo>
                  <a:lnTo>
                    <a:pt x="0" y="85"/>
                  </a:lnTo>
                  <a:lnTo>
                    <a:pt x="0" y="101"/>
                  </a:lnTo>
                  <a:lnTo>
                    <a:pt x="29" y="101"/>
                  </a:lnTo>
                  <a:lnTo>
                    <a:pt x="29" y="114"/>
                  </a:lnTo>
                  <a:lnTo>
                    <a:pt x="29" y="128"/>
                  </a:lnTo>
                  <a:lnTo>
                    <a:pt x="14" y="128"/>
                  </a:lnTo>
                  <a:lnTo>
                    <a:pt x="14" y="142"/>
                  </a:lnTo>
                  <a:lnTo>
                    <a:pt x="14" y="186"/>
                  </a:lnTo>
                  <a:lnTo>
                    <a:pt x="43" y="213"/>
                  </a:lnTo>
                  <a:lnTo>
                    <a:pt x="56" y="213"/>
                  </a:lnTo>
                  <a:lnTo>
                    <a:pt x="56" y="202"/>
                  </a:lnTo>
                  <a:lnTo>
                    <a:pt x="70" y="186"/>
                  </a:lnTo>
                  <a:lnTo>
                    <a:pt x="85" y="186"/>
                  </a:lnTo>
                  <a:lnTo>
                    <a:pt x="101" y="202"/>
                  </a:lnTo>
                  <a:lnTo>
                    <a:pt x="85" y="227"/>
                  </a:lnTo>
                  <a:lnTo>
                    <a:pt x="85" y="256"/>
                  </a:lnTo>
                  <a:lnTo>
                    <a:pt x="85" y="270"/>
                  </a:lnTo>
                  <a:lnTo>
                    <a:pt x="70" y="270"/>
                  </a:lnTo>
                  <a:close/>
                </a:path>
              </a:pathLst>
            </a:custGeom>
            <a:grpFill/>
            <a:ln w="3175" cmpd="sng">
              <a:solidFill>
                <a:schemeClr val="bg1"/>
              </a:solidFill>
              <a:round/>
              <a:headEnd/>
              <a:tailEnd/>
            </a:ln>
          </p:spPr>
          <p:txBody>
            <a:bodyPr/>
            <a:lstStyle/>
            <a:p>
              <a:endParaRPr lang="da-DK"/>
            </a:p>
          </p:txBody>
        </p:sp>
        <p:sp>
          <p:nvSpPr>
            <p:cNvPr id="92" name="Freeform 1133">
              <a:extLst>
                <a:ext uri="{FF2B5EF4-FFF2-40B4-BE49-F238E27FC236}">
                  <a16:creationId xmlns:a16="http://schemas.microsoft.com/office/drawing/2014/main" id="{3CD7A8D2-173D-C01A-D658-868B28AC71C3}"/>
                </a:ext>
              </a:extLst>
            </p:cNvPr>
            <p:cNvSpPr>
              <a:spLocks/>
            </p:cNvSpPr>
            <p:nvPr>
              <p:custDataLst>
                <p:tags r:id="rId71"/>
              </p:custDataLst>
            </p:nvPr>
          </p:nvSpPr>
          <p:spPr bwMode="auto">
            <a:xfrm>
              <a:off x="6102787" y="2786557"/>
              <a:ext cx="721002" cy="334804"/>
            </a:xfrm>
            <a:custGeom>
              <a:avLst/>
              <a:gdLst>
                <a:gd name="T0" fmla="*/ 339462 w 659"/>
                <a:gd name="T1" fmla="*/ 60325 h 342"/>
                <a:gd name="T2" fmla="*/ 339462 w 659"/>
                <a:gd name="T3" fmla="*/ 106892 h 342"/>
                <a:gd name="T4" fmla="*/ 339462 w 659"/>
                <a:gd name="T5" fmla="*/ 152400 h 342"/>
                <a:gd name="T6" fmla="*/ 305161 w 659"/>
                <a:gd name="T7" fmla="*/ 180975 h 342"/>
                <a:gd name="T8" fmla="*/ 254301 w 659"/>
                <a:gd name="T9" fmla="*/ 152400 h 342"/>
                <a:gd name="T10" fmla="*/ 236559 w 659"/>
                <a:gd name="T11" fmla="*/ 106892 h 342"/>
                <a:gd name="T12" fmla="*/ 185699 w 659"/>
                <a:gd name="T13" fmla="*/ 76200 h 342"/>
                <a:gd name="T14" fmla="*/ 171505 w 659"/>
                <a:gd name="T15" fmla="*/ 45508 h 342"/>
                <a:gd name="T16" fmla="*/ 102903 w 659"/>
                <a:gd name="T17" fmla="*/ 60325 h 342"/>
                <a:gd name="T18" fmla="*/ 68602 w 659"/>
                <a:gd name="T19" fmla="*/ 76200 h 342"/>
                <a:gd name="T20" fmla="*/ 52043 w 659"/>
                <a:gd name="T21" fmla="*/ 137583 h 342"/>
                <a:gd name="T22" fmla="*/ 17742 w 659"/>
                <a:gd name="T23" fmla="*/ 195792 h 342"/>
                <a:gd name="T24" fmla="*/ 52043 w 659"/>
                <a:gd name="T25" fmla="*/ 270933 h 342"/>
                <a:gd name="T26" fmla="*/ 102903 w 659"/>
                <a:gd name="T27" fmla="*/ 255058 h 342"/>
                <a:gd name="T28" fmla="*/ 137204 w 659"/>
                <a:gd name="T29" fmla="*/ 255058 h 342"/>
                <a:gd name="T30" fmla="*/ 203441 w 659"/>
                <a:gd name="T31" fmla="*/ 255058 h 342"/>
                <a:gd name="T32" fmla="*/ 288602 w 659"/>
                <a:gd name="T33" fmla="*/ 240242 h 342"/>
                <a:gd name="T34" fmla="*/ 373763 w 659"/>
                <a:gd name="T35" fmla="*/ 240242 h 342"/>
                <a:gd name="T36" fmla="*/ 422258 w 659"/>
                <a:gd name="T37" fmla="*/ 270933 h 342"/>
                <a:gd name="T38" fmla="*/ 490860 w 659"/>
                <a:gd name="T39" fmla="*/ 285750 h 342"/>
                <a:gd name="T40" fmla="*/ 559462 w 659"/>
                <a:gd name="T41" fmla="*/ 347133 h 342"/>
                <a:gd name="T42" fmla="*/ 625699 w 659"/>
                <a:gd name="T43" fmla="*/ 361950 h 342"/>
                <a:gd name="T44" fmla="*/ 660000 w 659"/>
                <a:gd name="T45" fmla="*/ 361950 h 342"/>
                <a:gd name="T46" fmla="*/ 691935 w 659"/>
                <a:gd name="T47" fmla="*/ 361950 h 342"/>
                <a:gd name="T48" fmla="*/ 742795 w 659"/>
                <a:gd name="T49" fmla="*/ 331258 h 342"/>
                <a:gd name="T50" fmla="*/ 710860 w 659"/>
                <a:gd name="T51" fmla="*/ 302683 h 342"/>
                <a:gd name="T52" fmla="*/ 777096 w 659"/>
                <a:gd name="T53" fmla="*/ 270933 h 342"/>
                <a:gd name="T54" fmla="*/ 761720 w 659"/>
                <a:gd name="T55" fmla="*/ 240242 h 342"/>
                <a:gd name="T56" fmla="*/ 745161 w 659"/>
                <a:gd name="T57" fmla="*/ 180975 h 342"/>
                <a:gd name="T58" fmla="*/ 728602 w 659"/>
                <a:gd name="T59" fmla="*/ 167217 h 342"/>
                <a:gd name="T60" fmla="*/ 694301 w 659"/>
                <a:gd name="T61" fmla="*/ 137583 h 342"/>
                <a:gd name="T62" fmla="*/ 728602 w 659"/>
                <a:gd name="T63" fmla="*/ 106892 h 342"/>
                <a:gd name="T64" fmla="*/ 713225 w 659"/>
                <a:gd name="T65" fmla="*/ 76200 h 342"/>
                <a:gd name="T66" fmla="*/ 694301 w 659"/>
                <a:gd name="T67" fmla="*/ 76200 h 342"/>
                <a:gd name="T68" fmla="*/ 678924 w 659"/>
                <a:gd name="T69" fmla="*/ 60325 h 342"/>
                <a:gd name="T70" fmla="*/ 660000 w 659"/>
                <a:gd name="T71" fmla="*/ 60325 h 342"/>
                <a:gd name="T72" fmla="*/ 625699 w 659"/>
                <a:gd name="T73" fmla="*/ 60325 h 342"/>
                <a:gd name="T74" fmla="*/ 573656 w 659"/>
                <a:gd name="T75" fmla="*/ 45508 h 342"/>
                <a:gd name="T76" fmla="*/ 525161 w 659"/>
                <a:gd name="T77" fmla="*/ 45508 h 342"/>
                <a:gd name="T78" fmla="*/ 506236 w 659"/>
                <a:gd name="T79" fmla="*/ 14817 h 342"/>
                <a:gd name="T80" fmla="*/ 458925 w 659"/>
                <a:gd name="T81" fmla="*/ 0 h 342"/>
                <a:gd name="T82" fmla="*/ 440000 w 659"/>
                <a:gd name="T83" fmla="*/ 14817 h 342"/>
                <a:gd name="T84" fmla="*/ 405699 w 659"/>
                <a:gd name="T85" fmla="*/ 14817 h 342"/>
                <a:gd name="T86" fmla="*/ 339462 w 659"/>
                <a:gd name="T87" fmla="*/ 45508 h 342"/>
                <a:gd name="T88" fmla="*/ 339462 w 659"/>
                <a:gd name="T89" fmla="*/ 45508 h 34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59" h="342">
                  <a:moveTo>
                    <a:pt x="287" y="43"/>
                  </a:moveTo>
                  <a:lnTo>
                    <a:pt x="287" y="57"/>
                  </a:lnTo>
                  <a:lnTo>
                    <a:pt x="287" y="72"/>
                  </a:lnTo>
                  <a:lnTo>
                    <a:pt x="287" y="101"/>
                  </a:lnTo>
                  <a:lnTo>
                    <a:pt x="287" y="115"/>
                  </a:lnTo>
                  <a:lnTo>
                    <a:pt x="287" y="144"/>
                  </a:lnTo>
                  <a:lnTo>
                    <a:pt x="271" y="158"/>
                  </a:lnTo>
                  <a:lnTo>
                    <a:pt x="258" y="171"/>
                  </a:lnTo>
                  <a:lnTo>
                    <a:pt x="244" y="171"/>
                  </a:lnTo>
                  <a:lnTo>
                    <a:pt x="215" y="144"/>
                  </a:lnTo>
                  <a:lnTo>
                    <a:pt x="200" y="130"/>
                  </a:lnTo>
                  <a:lnTo>
                    <a:pt x="200" y="101"/>
                  </a:lnTo>
                  <a:lnTo>
                    <a:pt x="172" y="72"/>
                  </a:lnTo>
                  <a:lnTo>
                    <a:pt x="157" y="72"/>
                  </a:lnTo>
                  <a:lnTo>
                    <a:pt x="145" y="57"/>
                  </a:lnTo>
                  <a:lnTo>
                    <a:pt x="145" y="43"/>
                  </a:lnTo>
                  <a:lnTo>
                    <a:pt x="116" y="43"/>
                  </a:lnTo>
                  <a:lnTo>
                    <a:pt x="87" y="57"/>
                  </a:lnTo>
                  <a:lnTo>
                    <a:pt x="72" y="72"/>
                  </a:lnTo>
                  <a:lnTo>
                    <a:pt x="58" y="72"/>
                  </a:lnTo>
                  <a:lnTo>
                    <a:pt x="44" y="101"/>
                  </a:lnTo>
                  <a:lnTo>
                    <a:pt x="44" y="130"/>
                  </a:lnTo>
                  <a:lnTo>
                    <a:pt x="31" y="158"/>
                  </a:lnTo>
                  <a:lnTo>
                    <a:pt x="15" y="185"/>
                  </a:lnTo>
                  <a:lnTo>
                    <a:pt x="0" y="270"/>
                  </a:lnTo>
                  <a:lnTo>
                    <a:pt x="44" y="256"/>
                  </a:lnTo>
                  <a:lnTo>
                    <a:pt x="72" y="256"/>
                  </a:lnTo>
                  <a:lnTo>
                    <a:pt x="87" y="241"/>
                  </a:lnTo>
                  <a:lnTo>
                    <a:pt x="101" y="241"/>
                  </a:lnTo>
                  <a:lnTo>
                    <a:pt x="116" y="241"/>
                  </a:lnTo>
                  <a:lnTo>
                    <a:pt x="157" y="241"/>
                  </a:lnTo>
                  <a:lnTo>
                    <a:pt x="172" y="241"/>
                  </a:lnTo>
                  <a:lnTo>
                    <a:pt x="200" y="227"/>
                  </a:lnTo>
                  <a:lnTo>
                    <a:pt x="244" y="227"/>
                  </a:lnTo>
                  <a:lnTo>
                    <a:pt x="287" y="241"/>
                  </a:lnTo>
                  <a:lnTo>
                    <a:pt x="316" y="227"/>
                  </a:lnTo>
                  <a:lnTo>
                    <a:pt x="329" y="241"/>
                  </a:lnTo>
                  <a:lnTo>
                    <a:pt x="357" y="256"/>
                  </a:lnTo>
                  <a:lnTo>
                    <a:pt x="401" y="270"/>
                  </a:lnTo>
                  <a:lnTo>
                    <a:pt x="415" y="270"/>
                  </a:lnTo>
                  <a:lnTo>
                    <a:pt x="428" y="299"/>
                  </a:lnTo>
                  <a:lnTo>
                    <a:pt x="473" y="328"/>
                  </a:lnTo>
                  <a:lnTo>
                    <a:pt x="485" y="342"/>
                  </a:lnTo>
                  <a:lnTo>
                    <a:pt x="529" y="342"/>
                  </a:lnTo>
                  <a:lnTo>
                    <a:pt x="545" y="342"/>
                  </a:lnTo>
                  <a:lnTo>
                    <a:pt x="558" y="342"/>
                  </a:lnTo>
                  <a:lnTo>
                    <a:pt x="572" y="328"/>
                  </a:lnTo>
                  <a:lnTo>
                    <a:pt x="585" y="342"/>
                  </a:lnTo>
                  <a:lnTo>
                    <a:pt x="616" y="328"/>
                  </a:lnTo>
                  <a:lnTo>
                    <a:pt x="628" y="313"/>
                  </a:lnTo>
                  <a:lnTo>
                    <a:pt x="616" y="299"/>
                  </a:lnTo>
                  <a:lnTo>
                    <a:pt x="601" y="286"/>
                  </a:lnTo>
                  <a:lnTo>
                    <a:pt x="628" y="270"/>
                  </a:lnTo>
                  <a:lnTo>
                    <a:pt x="657" y="256"/>
                  </a:lnTo>
                  <a:lnTo>
                    <a:pt x="659" y="256"/>
                  </a:lnTo>
                  <a:lnTo>
                    <a:pt x="644" y="227"/>
                  </a:lnTo>
                  <a:lnTo>
                    <a:pt x="644" y="198"/>
                  </a:lnTo>
                  <a:lnTo>
                    <a:pt x="630" y="171"/>
                  </a:lnTo>
                  <a:lnTo>
                    <a:pt x="630" y="158"/>
                  </a:lnTo>
                  <a:lnTo>
                    <a:pt x="616" y="158"/>
                  </a:lnTo>
                  <a:lnTo>
                    <a:pt x="603" y="158"/>
                  </a:lnTo>
                  <a:lnTo>
                    <a:pt x="587" y="130"/>
                  </a:lnTo>
                  <a:lnTo>
                    <a:pt x="616" y="130"/>
                  </a:lnTo>
                  <a:lnTo>
                    <a:pt x="616" y="101"/>
                  </a:lnTo>
                  <a:lnTo>
                    <a:pt x="616" y="72"/>
                  </a:lnTo>
                  <a:lnTo>
                    <a:pt x="603" y="72"/>
                  </a:lnTo>
                  <a:lnTo>
                    <a:pt x="587" y="84"/>
                  </a:lnTo>
                  <a:lnTo>
                    <a:pt x="587" y="72"/>
                  </a:lnTo>
                  <a:lnTo>
                    <a:pt x="574" y="72"/>
                  </a:lnTo>
                  <a:lnTo>
                    <a:pt x="574" y="57"/>
                  </a:lnTo>
                  <a:lnTo>
                    <a:pt x="585" y="57"/>
                  </a:lnTo>
                  <a:lnTo>
                    <a:pt x="558" y="57"/>
                  </a:lnTo>
                  <a:lnTo>
                    <a:pt x="558" y="43"/>
                  </a:lnTo>
                  <a:lnTo>
                    <a:pt x="529" y="57"/>
                  </a:lnTo>
                  <a:lnTo>
                    <a:pt x="500" y="72"/>
                  </a:lnTo>
                  <a:lnTo>
                    <a:pt x="485" y="43"/>
                  </a:lnTo>
                  <a:lnTo>
                    <a:pt x="459" y="43"/>
                  </a:lnTo>
                  <a:lnTo>
                    <a:pt x="444" y="43"/>
                  </a:lnTo>
                  <a:lnTo>
                    <a:pt x="428" y="28"/>
                  </a:lnTo>
                  <a:lnTo>
                    <a:pt x="428" y="14"/>
                  </a:lnTo>
                  <a:lnTo>
                    <a:pt x="415" y="14"/>
                  </a:lnTo>
                  <a:lnTo>
                    <a:pt x="388" y="0"/>
                  </a:lnTo>
                  <a:lnTo>
                    <a:pt x="388" y="14"/>
                  </a:lnTo>
                  <a:lnTo>
                    <a:pt x="372" y="14"/>
                  </a:lnTo>
                  <a:lnTo>
                    <a:pt x="357" y="0"/>
                  </a:lnTo>
                  <a:lnTo>
                    <a:pt x="343" y="14"/>
                  </a:lnTo>
                  <a:lnTo>
                    <a:pt x="287" y="28"/>
                  </a:lnTo>
                  <a:lnTo>
                    <a:pt x="287" y="43"/>
                  </a:lnTo>
                  <a:close/>
                </a:path>
              </a:pathLst>
            </a:custGeom>
            <a:grpFill/>
            <a:ln w="3175" cmpd="sng">
              <a:solidFill>
                <a:schemeClr val="bg1"/>
              </a:solidFill>
              <a:round/>
              <a:headEnd/>
              <a:tailEnd/>
            </a:ln>
          </p:spPr>
          <p:txBody>
            <a:bodyPr/>
            <a:lstStyle/>
            <a:p>
              <a:endParaRPr lang="da-DK"/>
            </a:p>
          </p:txBody>
        </p:sp>
        <p:sp>
          <p:nvSpPr>
            <p:cNvPr id="93" name="Freeform 1134">
              <a:extLst>
                <a:ext uri="{FF2B5EF4-FFF2-40B4-BE49-F238E27FC236}">
                  <a16:creationId xmlns:a16="http://schemas.microsoft.com/office/drawing/2014/main" id="{C0DC7AA8-E807-56E5-6FC3-F8E2842712B4}"/>
                </a:ext>
              </a:extLst>
            </p:cNvPr>
            <p:cNvSpPr>
              <a:spLocks/>
            </p:cNvSpPr>
            <p:nvPr>
              <p:custDataLst>
                <p:tags r:id="rId72"/>
              </p:custDataLst>
            </p:nvPr>
          </p:nvSpPr>
          <p:spPr bwMode="auto">
            <a:xfrm>
              <a:off x="6099851" y="3009760"/>
              <a:ext cx="612338" cy="389136"/>
            </a:xfrm>
            <a:custGeom>
              <a:avLst/>
              <a:gdLst>
                <a:gd name="T0" fmla="*/ 593178 w 558"/>
                <a:gd name="T1" fmla="*/ 179844 h 400"/>
                <a:gd name="T2" fmla="*/ 627583 w 558"/>
                <a:gd name="T3" fmla="*/ 227172 h 400"/>
                <a:gd name="T4" fmla="*/ 575383 w 558"/>
                <a:gd name="T5" fmla="*/ 240844 h 400"/>
                <a:gd name="T6" fmla="*/ 507761 w 558"/>
                <a:gd name="T7" fmla="*/ 271344 h 400"/>
                <a:gd name="T8" fmla="*/ 507761 w 558"/>
                <a:gd name="T9" fmla="*/ 329188 h 400"/>
                <a:gd name="T10" fmla="*/ 475729 w 558"/>
                <a:gd name="T11" fmla="*/ 359688 h 400"/>
                <a:gd name="T12" fmla="*/ 460306 w 558"/>
                <a:gd name="T13" fmla="*/ 359688 h 400"/>
                <a:gd name="T14" fmla="*/ 406920 w 558"/>
                <a:gd name="T15" fmla="*/ 375464 h 400"/>
                <a:gd name="T16" fmla="*/ 390311 w 558"/>
                <a:gd name="T17" fmla="*/ 375464 h 400"/>
                <a:gd name="T18" fmla="*/ 355907 w 558"/>
                <a:gd name="T19" fmla="*/ 420688 h 400"/>
                <a:gd name="T20" fmla="*/ 321503 w 558"/>
                <a:gd name="T21" fmla="*/ 405964 h 400"/>
                <a:gd name="T22" fmla="*/ 255067 w 558"/>
                <a:gd name="T23" fmla="*/ 375464 h 400"/>
                <a:gd name="T24" fmla="*/ 204053 w 558"/>
                <a:gd name="T25" fmla="*/ 342861 h 400"/>
                <a:gd name="T26" fmla="*/ 186258 w 558"/>
                <a:gd name="T27" fmla="*/ 329188 h 400"/>
                <a:gd name="T28" fmla="*/ 204053 w 558"/>
                <a:gd name="T29" fmla="*/ 299740 h 400"/>
                <a:gd name="T30" fmla="*/ 186258 w 558"/>
                <a:gd name="T31" fmla="*/ 271344 h 400"/>
                <a:gd name="T32" fmla="*/ 172022 w 558"/>
                <a:gd name="T33" fmla="*/ 240844 h 400"/>
                <a:gd name="T34" fmla="*/ 154226 w 558"/>
                <a:gd name="T35" fmla="*/ 255568 h 400"/>
                <a:gd name="T36" fmla="*/ 103213 w 558"/>
                <a:gd name="T37" fmla="*/ 255568 h 400"/>
                <a:gd name="T38" fmla="*/ 68809 w 558"/>
                <a:gd name="T39" fmla="*/ 240844 h 400"/>
                <a:gd name="T40" fmla="*/ 52200 w 558"/>
                <a:gd name="T41" fmla="*/ 212447 h 400"/>
                <a:gd name="T42" fmla="*/ 17795 w 558"/>
                <a:gd name="T43" fmla="*/ 165120 h 400"/>
                <a:gd name="T44" fmla="*/ 0 w 558"/>
                <a:gd name="T45" fmla="*/ 106224 h 400"/>
                <a:gd name="T46" fmla="*/ 0 w 558"/>
                <a:gd name="T47" fmla="*/ 45224 h 400"/>
                <a:gd name="T48" fmla="*/ 56945 w 558"/>
                <a:gd name="T49" fmla="*/ 30500 h 400"/>
                <a:gd name="T50" fmla="*/ 105586 w 558"/>
                <a:gd name="T51" fmla="*/ 14724 h 400"/>
                <a:gd name="T52" fmla="*/ 139990 w 558"/>
                <a:gd name="T53" fmla="*/ 14724 h 400"/>
                <a:gd name="T54" fmla="*/ 206426 w 558"/>
                <a:gd name="T55" fmla="*/ 14724 h 400"/>
                <a:gd name="T56" fmla="*/ 291844 w 558"/>
                <a:gd name="T57" fmla="*/ 0 h 400"/>
                <a:gd name="T58" fmla="*/ 377261 w 558"/>
                <a:gd name="T59" fmla="*/ 0 h 400"/>
                <a:gd name="T60" fmla="*/ 425902 w 558"/>
                <a:gd name="T61" fmla="*/ 30500 h 400"/>
                <a:gd name="T62" fmla="*/ 492338 w 558"/>
                <a:gd name="T63" fmla="*/ 45224 h 400"/>
                <a:gd name="T64" fmla="*/ 561147 w 558"/>
                <a:gd name="T65" fmla="*/ 106224 h 400"/>
                <a:gd name="T66" fmla="*/ 629955 w 558"/>
                <a:gd name="T67" fmla="*/ 120948 h 400"/>
                <a:gd name="T68" fmla="*/ 627583 w 558"/>
                <a:gd name="T69" fmla="*/ 120948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00">
                  <a:moveTo>
                    <a:pt x="529" y="115"/>
                  </a:moveTo>
                  <a:lnTo>
                    <a:pt x="500" y="171"/>
                  </a:lnTo>
                  <a:lnTo>
                    <a:pt x="558" y="185"/>
                  </a:lnTo>
                  <a:lnTo>
                    <a:pt x="529" y="216"/>
                  </a:lnTo>
                  <a:lnTo>
                    <a:pt x="485" y="216"/>
                  </a:lnTo>
                  <a:lnTo>
                    <a:pt x="485" y="229"/>
                  </a:lnTo>
                  <a:lnTo>
                    <a:pt x="428" y="243"/>
                  </a:lnTo>
                  <a:lnTo>
                    <a:pt x="428" y="258"/>
                  </a:lnTo>
                  <a:lnTo>
                    <a:pt x="428" y="299"/>
                  </a:lnTo>
                  <a:lnTo>
                    <a:pt x="428" y="313"/>
                  </a:lnTo>
                  <a:lnTo>
                    <a:pt x="415" y="342"/>
                  </a:lnTo>
                  <a:lnTo>
                    <a:pt x="401" y="342"/>
                  </a:lnTo>
                  <a:lnTo>
                    <a:pt x="401" y="357"/>
                  </a:lnTo>
                  <a:lnTo>
                    <a:pt x="388" y="342"/>
                  </a:lnTo>
                  <a:lnTo>
                    <a:pt x="357" y="357"/>
                  </a:lnTo>
                  <a:lnTo>
                    <a:pt x="343" y="357"/>
                  </a:lnTo>
                  <a:lnTo>
                    <a:pt x="316" y="357"/>
                  </a:lnTo>
                  <a:lnTo>
                    <a:pt x="329" y="357"/>
                  </a:lnTo>
                  <a:lnTo>
                    <a:pt x="316" y="386"/>
                  </a:lnTo>
                  <a:lnTo>
                    <a:pt x="300" y="400"/>
                  </a:lnTo>
                  <a:lnTo>
                    <a:pt x="271" y="400"/>
                  </a:lnTo>
                  <a:lnTo>
                    <a:pt x="271" y="386"/>
                  </a:lnTo>
                  <a:lnTo>
                    <a:pt x="244" y="386"/>
                  </a:lnTo>
                  <a:lnTo>
                    <a:pt x="215" y="357"/>
                  </a:lnTo>
                  <a:lnTo>
                    <a:pt x="172" y="342"/>
                  </a:lnTo>
                  <a:lnTo>
                    <a:pt x="172" y="326"/>
                  </a:lnTo>
                  <a:lnTo>
                    <a:pt x="157" y="326"/>
                  </a:lnTo>
                  <a:lnTo>
                    <a:pt x="157" y="313"/>
                  </a:lnTo>
                  <a:lnTo>
                    <a:pt x="172" y="299"/>
                  </a:lnTo>
                  <a:lnTo>
                    <a:pt x="172" y="285"/>
                  </a:lnTo>
                  <a:lnTo>
                    <a:pt x="172" y="270"/>
                  </a:lnTo>
                  <a:lnTo>
                    <a:pt x="157" y="258"/>
                  </a:lnTo>
                  <a:lnTo>
                    <a:pt x="157" y="243"/>
                  </a:lnTo>
                  <a:lnTo>
                    <a:pt x="145" y="229"/>
                  </a:lnTo>
                  <a:lnTo>
                    <a:pt x="130" y="229"/>
                  </a:lnTo>
                  <a:lnTo>
                    <a:pt x="130" y="243"/>
                  </a:lnTo>
                  <a:lnTo>
                    <a:pt x="116" y="243"/>
                  </a:lnTo>
                  <a:lnTo>
                    <a:pt x="87" y="243"/>
                  </a:lnTo>
                  <a:lnTo>
                    <a:pt x="72" y="229"/>
                  </a:lnTo>
                  <a:lnTo>
                    <a:pt x="58" y="229"/>
                  </a:lnTo>
                  <a:lnTo>
                    <a:pt x="44" y="216"/>
                  </a:lnTo>
                  <a:lnTo>
                    <a:pt x="44" y="202"/>
                  </a:lnTo>
                  <a:lnTo>
                    <a:pt x="15" y="202"/>
                  </a:lnTo>
                  <a:lnTo>
                    <a:pt x="15" y="157"/>
                  </a:lnTo>
                  <a:lnTo>
                    <a:pt x="0" y="115"/>
                  </a:lnTo>
                  <a:lnTo>
                    <a:pt x="0" y="101"/>
                  </a:lnTo>
                  <a:lnTo>
                    <a:pt x="0" y="86"/>
                  </a:lnTo>
                  <a:lnTo>
                    <a:pt x="0" y="43"/>
                  </a:lnTo>
                  <a:lnTo>
                    <a:pt x="2" y="43"/>
                  </a:lnTo>
                  <a:lnTo>
                    <a:pt x="48" y="29"/>
                  </a:lnTo>
                  <a:lnTo>
                    <a:pt x="73" y="29"/>
                  </a:lnTo>
                  <a:lnTo>
                    <a:pt x="89" y="14"/>
                  </a:lnTo>
                  <a:lnTo>
                    <a:pt x="103" y="14"/>
                  </a:lnTo>
                  <a:lnTo>
                    <a:pt x="118" y="14"/>
                  </a:lnTo>
                  <a:lnTo>
                    <a:pt x="161" y="14"/>
                  </a:lnTo>
                  <a:lnTo>
                    <a:pt x="174" y="14"/>
                  </a:lnTo>
                  <a:lnTo>
                    <a:pt x="201" y="0"/>
                  </a:lnTo>
                  <a:lnTo>
                    <a:pt x="246" y="0"/>
                  </a:lnTo>
                  <a:lnTo>
                    <a:pt x="287" y="14"/>
                  </a:lnTo>
                  <a:lnTo>
                    <a:pt x="318" y="0"/>
                  </a:lnTo>
                  <a:lnTo>
                    <a:pt x="331" y="14"/>
                  </a:lnTo>
                  <a:lnTo>
                    <a:pt x="359" y="29"/>
                  </a:lnTo>
                  <a:lnTo>
                    <a:pt x="403" y="43"/>
                  </a:lnTo>
                  <a:lnTo>
                    <a:pt x="415" y="43"/>
                  </a:lnTo>
                  <a:lnTo>
                    <a:pt x="430" y="72"/>
                  </a:lnTo>
                  <a:lnTo>
                    <a:pt x="473" y="101"/>
                  </a:lnTo>
                  <a:lnTo>
                    <a:pt x="488" y="115"/>
                  </a:lnTo>
                  <a:lnTo>
                    <a:pt x="531" y="115"/>
                  </a:lnTo>
                  <a:lnTo>
                    <a:pt x="529" y="115"/>
                  </a:lnTo>
                  <a:close/>
                </a:path>
              </a:pathLst>
            </a:custGeom>
            <a:grpFill/>
            <a:ln w="3175" cmpd="sng">
              <a:solidFill>
                <a:schemeClr val="bg1"/>
              </a:solidFill>
              <a:round/>
              <a:headEnd/>
              <a:tailEnd/>
            </a:ln>
          </p:spPr>
          <p:txBody>
            <a:bodyPr/>
            <a:lstStyle/>
            <a:p>
              <a:endParaRPr lang="da-DK"/>
            </a:p>
          </p:txBody>
        </p:sp>
        <p:sp>
          <p:nvSpPr>
            <p:cNvPr id="94" name="Freeform 1135">
              <a:extLst>
                <a:ext uri="{FF2B5EF4-FFF2-40B4-BE49-F238E27FC236}">
                  <a16:creationId xmlns:a16="http://schemas.microsoft.com/office/drawing/2014/main" id="{DE755FEA-78A3-3470-BC76-336CF1746C49}"/>
                </a:ext>
              </a:extLst>
            </p:cNvPr>
            <p:cNvSpPr>
              <a:spLocks/>
            </p:cNvSpPr>
            <p:nvPr>
              <p:custDataLst>
                <p:tags r:id="rId73"/>
              </p:custDataLst>
            </p:nvPr>
          </p:nvSpPr>
          <p:spPr bwMode="auto">
            <a:xfrm>
              <a:off x="6352422" y="3034725"/>
              <a:ext cx="1011753" cy="731282"/>
            </a:xfrm>
            <a:custGeom>
              <a:avLst/>
              <a:gdLst>
                <a:gd name="T0" fmla="*/ 34144 w 929"/>
                <a:gd name="T1" fmla="*/ 730828 h 741"/>
                <a:gd name="T2" fmla="*/ 17661 w 929"/>
                <a:gd name="T3" fmla="*/ 699888 h 741"/>
                <a:gd name="T4" fmla="*/ 34144 w 929"/>
                <a:gd name="T5" fmla="*/ 651878 h 741"/>
                <a:gd name="T6" fmla="*/ 83594 w 929"/>
                <a:gd name="T7" fmla="*/ 592131 h 741"/>
                <a:gd name="T8" fmla="*/ 83594 w 929"/>
                <a:gd name="T9" fmla="*/ 534518 h 741"/>
                <a:gd name="T10" fmla="*/ 34144 w 929"/>
                <a:gd name="T11" fmla="*/ 486508 h 741"/>
                <a:gd name="T12" fmla="*/ 17661 w 929"/>
                <a:gd name="T13" fmla="*/ 380884 h 741"/>
                <a:gd name="T14" fmla="*/ 51805 w 929"/>
                <a:gd name="T15" fmla="*/ 395821 h 741"/>
                <a:gd name="T16" fmla="*/ 120093 w 929"/>
                <a:gd name="T17" fmla="*/ 349944 h 741"/>
                <a:gd name="T18" fmla="*/ 153060 w 929"/>
                <a:gd name="T19" fmla="*/ 349944 h 741"/>
                <a:gd name="T20" fmla="*/ 204864 w 929"/>
                <a:gd name="T21" fmla="*/ 333941 h 741"/>
                <a:gd name="T22" fmla="*/ 236654 w 929"/>
                <a:gd name="T23" fmla="*/ 288064 h 741"/>
                <a:gd name="T24" fmla="*/ 304942 w 929"/>
                <a:gd name="T25" fmla="*/ 213381 h 741"/>
                <a:gd name="T26" fmla="*/ 389713 w 929"/>
                <a:gd name="T27" fmla="*/ 166437 h 741"/>
                <a:gd name="T28" fmla="*/ 374407 w 929"/>
                <a:gd name="T29" fmla="*/ 91754 h 741"/>
                <a:gd name="T30" fmla="*/ 421502 w 929"/>
                <a:gd name="T31" fmla="*/ 91754 h 741"/>
                <a:gd name="T32" fmla="*/ 455646 w 929"/>
                <a:gd name="T33" fmla="*/ 45877 h 741"/>
                <a:gd name="T34" fmla="*/ 506274 w 929"/>
                <a:gd name="T35" fmla="*/ 0 h 741"/>
                <a:gd name="T36" fmla="*/ 540418 w 929"/>
                <a:gd name="T37" fmla="*/ 14937 h 741"/>
                <a:gd name="T38" fmla="*/ 641673 w 929"/>
                <a:gd name="T39" fmla="*/ 14937 h 741"/>
                <a:gd name="T40" fmla="*/ 673462 w 929"/>
                <a:gd name="T41" fmla="*/ 45877 h 741"/>
                <a:gd name="T42" fmla="*/ 725267 w 929"/>
                <a:gd name="T43" fmla="*/ 14937 h 741"/>
                <a:gd name="T44" fmla="*/ 807683 w 929"/>
                <a:gd name="T45" fmla="*/ 60813 h 741"/>
                <a:gd name="T46" fmla="*/ 792377 w 929"/>
                <a:gd name="T47" fmla="*/ 105623 h 741"/>
                <a:gd name="T48" fmla="*/ 807683 w 929"/>
                <a:gd name="T49" fmla="*/ 213381 h 741"/>
                <a:gd name="T50" fmla="*/ 858311 w 929"/>
                <a:gd name="T51" fmla="*/ 244321 h 741"/>
                <a:gd name="T52" fmla="*/ 958388 w 929"/>
                <a:gd name="T53" fmla="*/ 273127 h 741"/>
                <a:gd name="T54" fmla="*/ 992532 w 929"/>
                <a:gd name="T55" fmla="*/ 316870 h 741"/>
                <a:gd name="T56" fmla="*/ 1043160 w 929"/>
                <a:gd name="T57" fmla="*/ 349944 h 741"/>
                <a:gd name="T58" fmla="*/ 1077304 w 929"/>
                <a:gd name="T59" fmla="*/ 395821 h 741"/>
                <a:gd name="T60" fmla="*/ 1011370 w 929"/>
                <a:gd name="T61" fmla="*/ 440631 h 741"/>
                <a:gd name="T62" fmla="*/ 943082 w 929"/>
                <a:gd name="T63" fmla="*/ 440631 h 741"/>
                <a:gd name="T64" fmla="*/ 943082 w 929"/>
                <a:gd name="T65" fmla="*/ 501444 h 741"/>
                <a:gd name="T66" fmla="*/ 977226 w 929"/>
                <a:gd name="T67" fmla="*/ 579328 h 741"/>
                <a:gd name="T68" fmla="*/ 1024322 w 929"/>
                <a:gd name="T69" fmla="*/ 592131 h 741"/>
                <a:gd name="T70" fmla="*/ 974872 w 929"/>
                <a:gd name="T71" fmla="*/ 623071 h 741"/>
                <a:gd name="T72" fmla="*/ 907761 w 929"/>
                <a:gd name="T73" fmla="*/ 623071 h 741"/>
                <a:gd name="T74" fmla="*/ 873617 w 929"/>
                <a:gd name="T75" fmla="*/ 666814 h 741"/>
                <a:gd name="T76" fmla="*/ 873617 w 929"/>
                <a:gd name="T77" fmla="*/ 745765 h 741"/>
                <a:gd name="T78" fmla="*/ 821812 w 929"/>
                <a:gd name="T79" fmla="*/ 745765 h 741"/>
                <a:gd name="T80" fmla="*/ 737041 w 929"/>
                <a:gd name="T81" fmla="*/ 745765 h 741"/>
                <a:gd name="T82" fmla="*/ 705251 w 929"/>
                <a:gd name="T83" fmla="*/ 774571 h 741"/>
                <a:gd name="T84" fmla="*/ 656979 w 929"/>
                <a:gd name="T85" fmla="*/ 745765 h 741"/>
                <a:gd name="T86" fmla="*/ 606351 w 929"/>
                <a:gd name="T87" fmla="*/ 745765 h 741"/>
                <a:gd name="T88" fmla="*/ 503919 w 929"/>
                <a:gd name="T89" fmla="*/ 759635 h 741"/>
                <a:gd name="T90" fmla="*/ 403842 w 929"/>
                <a:gd name="T91" fmla="*/ 730828 h 741"/>
                <a:gd name="T92" fmla="*/ 270798 w 929"/>
                <a:gd name="T93" fmla="*/ 699888 h 741"/>
                <a:gd name="T94" fmla="*/ 150705 w 929"/>
                <a:gd name="T95" fmla="*/ 712691 h 741"/>
                <a:gd name="T96" fmla="*/ 102432 w 929"/>
                <a:gd name="T97" fmla="*/ 759635 h 741"/>
                <a:gd name="T98" fmla="*/ 49450 w 929"/>
                <a:gd name="T99" fmla="*/ 759635 h 741"/>
                <a:gd name="T100" fmla="*/ 34144 w 929"/>
                <a:gd name="T101" fmla="*/ 774571 h 7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29" h="741">
                  <a:moveTo>
                    <a:pt x="29" y="726"/>
                  </a:moveTo>
                  <a:lnTo>
                    <a:pt x="29" y="699"/>
                  </a:lnTo>
                  <a:lnTo>
                    <a:pt x="29" y="685"/>
                  </a:lnTo>
                  <a:lnTo>
                    <a:pt x="29" y="668"/>
                  </a:lnTo>
                  <a:lnTo>
                    <a:pt x="42" y="656"/>
                  </a:lnTo>
                  <a:lnTo>
                    <a:pt x="15" y="656"/>
                  </a:lnTo>
                  <a:lnTo>
                    <a:pt x="0" y="640"/>
                  </a:lnTo>
                  <a:lnTo>
                    <a:pt x="15" y="625"/>
                  </a:lnTo>
                  <a:lnTo>
                    <a:pt x="29" y="611"/>
                  </a:lnTo>
                  <a:lnTo>
                    <a:pt x="42" y="598"/>
                  </a:lnTo>
                  <a:lnTo>
                    <a:pt x="71" y="584"/>
                  </a:lnTo>
                  <a:lnTo>
                    <a:pt x="71" y="555"/>
                  </a:lnTo>
                  <a:lnTo>
                    <a:pt x="58" y="528"/>
                  </a:lnTo>
                  <a:lnTo>
                    <a:pt x="71" y="514"/>
                  </a:lnTo>
                  <a:lnTo>
                    <a:pt x="71" y="501"/>
                  </a:lnTo>
                  <a:lnTo>
                    <a:pt x="58" y="485"/>
                  </a:lnTo>
                  <a:lnTo>
                    <a:pt x="42" y="470"/>
                  </a:lnTo>
                  <a:lnTo>
                    <a:pt x="29" y="456"/>
                  </a:lnTo>
                  <a:lnTo>
                    <a:pt x="29" y="427"/>
                  </a:lnTo>
                  <a:lnTo>
                    <a:pt x="15" y="400"/>
                  </a:lnTo>
                  <a:lnTo>
                    <a:pt x="15" y="357"/>
                  </a:lnTo>
                  <a:lnTo>
                    <a:pt x="17" y="357"/>
                  </a:lnTo>
                  <a:lnTo>
                    <a:pt x="44" y="357"/>
                  </a:lnTo>
                  <a:lnTo>
                    <a:pt x="44" y="371"/>
                  </a:lnTo>
                  <a:lnTo>
                    <a:pt x="73" y="371"/>
                  </a:lnTo>
                  <a:lnTo>
                    <a:pt x="89" y="357"/>
                  </a:lnTo>
                  <a:lnTo>
                    <a:pt x="102" y="328"/>
                  </a:lnTo>
                  <a:lnTo>
                    <a:pt x="89" y="328"/>
                  </a:lnTo>
                  <a:lnTo>
                    <a:pt x="118" y="328"/>
                  </a:lnTo>
                  <a:lnTo>
                    <a:pt x="130" y="328"/>
                  </a:lnTo>
                  <a:lnTo>
                    <a:pt x="161" y="313"/>
                  </a:lnTo>
                  <a:lnTo>
                    <a:pt x="174" y="328"/>
                  </a:lnTo>
                  <a:lnTo>
                    <a:pt x="174" y="313"/>
                  </a:lnTo>
                  <a:lnTo>
                    <a:pt x="186" y="313"/>
                  </a:lnTo>
                  <a:lnTo>
                    <a:pt x="201" y="284"/>
                  </a:lnTo>
                  <a:lnTo>
                    <a:pt x="201" y="270"/>
                  </a:lnTo>
                  <a:lnTo>
                    <a:pt x="201" y="229"/>
                  </a:lnTo>
                  <a:lnTo>
                    <a:pt x="201" y="214"/>
                  </a:lnTo>
                  <a:lnTo>
                    <a:pt x="259" y="200"/>
                  </a:lnTo>
                  <a:lnTo>
                    <a:pt x="259" y="187"/>
                  </a:lnTo>
                  <a:lnTo>
                    <a:pt x="302" y="187"/>
                  </a:lnTo>
                  <a:lnTo>
                    <a:pt x="331" y="156"/>
                  </a:lnTo>
                  <a:lnTo>
                    <a:pt x="273" y="142"/>
                  </a:lnTo>
                  <a:lnTo>
                    <a:pt x="302" y="86"/>
                  </a:lnTo>
                  <a:lnTo>
                    <a:pt x="318" y="86"/>
                  </a:lnTo>
                  <a:lnTo>
                    <a:pt x="331" y="86"/>
                  </a:lnTo>
                  <a:lnTo>
                    <a:pt x="345" y="72"/>
                  </a:lnTo>
                  <a:lnTo>
                    <a:pt x="358" y="86"/>
                  </a:lnTo>
                  <a:lnTo>
                    <a:pt x="387" y="72"/>
                  </a:lnTo>
                  <a:lnTo>
                    <a:pt x="401" y="57"/>
                  </a:lnTo>
                  <a:lnTo>
                    <a:pt x="387" y="43"/>
                  </a:lnTo>
                  <a:lnTo>
                    <a:pt x="374" y="30"/>
                  </a:lnTo>
                  <a:lnTo>
                    <a:pt x="401" y="14"/>
                  </a:lnTo>
                  <a:lnTo>
                    <a:pt x="430" y="0"/>
                  </a:lnTo>
                  <a:lnTo>
                    <a:pt x="444" y="0"/>
                  </a:lnTo>
                  <a:lnTo>
                    <a:pt x="459" y="0"/>
                  </a:lnTo>
                  <a:lnTo>
                    <a:pt x="459" y="14"/>
                  </a:lnTo>
                  <a:lnTo>
                    <a:pt x="486" y="14"/>
                  </a:lnTo>
                  <a:lnTo>
                    <a:pt x="517" y="14"/>
                  </a:lnTo>
                  <a:lnTo>
                    <a:pt x="545" y="14"/>
                  </a:lnTo>
                  <a:lnTo>
                    <a:pt x="560" y="30"/>
                  </a:lnTo>
                  <a:lnTo>
                    <a:pt x="560" y="43"/>
                  </a:lnTo>
                  <a:lnTo>
                    <a:pt x="572" y="43"/>
                  </a:lnTo>
                  <a:lnTo>
                    <a:pt x="603" y="30"/>
                  </a:lnTo>
                  <a:lnTo>
                    <a:pt x="603" y="14"/>
                  </a:lnTo>
                  <a:lnTo>
                    <a:pt x="616" y="14"/>
                  </a:lnTo>
                  <a:lnTo>
                    <a:pt x="643" y="30"/>
                  </a:lnTo>
                  <a:lnTo>
                    <a:pt x="659" y="57"/>
                  </a:lnTo>
                  <a:lnTo>
                    <a:pt x="686" y="57"/>
                  </a:lnTo>
                  <a:lnTo>
                    <a:pt x="686" y="72"/>
                  </a:lnTo>
                  <a:lnTo>
                    <a:pt x="673" y="86"/>
                  </a:lnTo>
                  <a:lnTo>
                    <a:pt x="673" y="99"/>
                  </a:lnTo>
                  <a:lnTo>
                    <a:pt x="700" y="142"/>
                  </a:lnTo>
                  <a:lnTo>
                    <a:pt x="715" y="187"/>
                  </a:lnTo>
                  <a:lnTo>
                    <a:pt x="686" y="200"/>
                  </a:lnTo>
                  <a:lnTo>
                    <a:pt x="729" y="200"/>
                  </a:lnTo>
                  <a:lnTo>
                    <a:pt x="729" y="214"/>
                  </a:lnTo>
                  <a:lnTo>
                    <a:pt x="729" y="229"/>
                  </a:lnTo>
                  <a:lnTo>
                    <a:pt x="773" y="241"/>
                  </a:lnTo>
                  <a:lnTo>
                    <a:pt x="785" y="241"/>
                  </a:lnTo>
                  <a:lnTo>
                    <a:pt x="814" y="256"/>
                  </a:lnTo>
                  <a:lnTo>
                    <a:pt x="814" y="284"/>
                  </a:lnTo>
                  <a:lnTo>
                    <a:pt x="814" y="297"/>
                  </a:lnTo>
                  <a:lnTo>
                    <a:pt x="843" y="297"/>
                  </a:lnTo>
                  <a:lnTo>
                    <a:pt x="859" y="297"/>
                  </a:lnTo>
                  <a:lnTo>
                    <a:pt x="886" y="297"/>
                  </a:lnTo>
                  <a:lnTo>
                    <a:pt x="886" y="328"/>
                  </a:lnTo>
                  <a:lnTo>
                    <a:pt x="915" y="328"/>
                  </a:lnTo>
                  <a:lnTo>
                    <a:pt x="929" y="357"/>
                  </a:lnTo>
                  <a:lnTo>
                    <a:pt x="915" y="371"/>
                  </a:lnTo>
                  <a:lnTo>
                    <a:pt x="899" y="384"/>
                  </a:lnTo>
                  <a:lnTo>
                    <a:pt x="886" y="400"/>
                  </a:lnTo>
                  <a:lnTo>
                    <a:pt x="859" y="413"/>
                  </a:lnTo>
                  <a:lnTo>
                    <a:pt x="843" y="427"/>
                  </a:lnTo>
                  <a:lnTo>
                    <a:pt x="814" y="413"/>
                  </a:lnTo>
                  <a:lnTo>
                    <a:pt x="801" y="413"/>
                  </a:lnTo>
                  <a:lnTo>
                    <a:pt x="801" y="427"/>
                  </a:lnTo>
                  <a:lnTo>
                    <a:pt x="801" y="456"/>
                  </a:lnTo>
                  <a:lnTo>
                    <a:pt x="801" y="470"/>
                  </a:lnTo>
                  <a:lnTo>
                    <a:pt x="814" y="501"/>
                  </a:lnTo>
                  <a:lnTo>
                    <a:pt x="830" y="528"/>
                  </a:lnTo>
                  <a:lnTo>
                    <a:pt x="830" y="543"/>
                  </a:lnTo>
                  <a:lnTo>
                    <a:pt x="843" y="555"/>
                  </a:lnTo>
                  <a:lnTo>
                    <a:pt x="872" y="569"/>
                  </a:lnTo>
                  <a:lnTo>
                    <a:pt x="870" y="555"/>
                  </a:lnTo>
                  <a:lnTo>
                    <a:pt x="870" y="584"/>
                  </a:lnTo>
                  <a:lnTo>
                    <a:pt x="841" y="584"/>
                  </a:lnTo>
                  <a:lnTo>
                    <a:pt x="828" y="584"/>
                  </a:lnTo>
                  <a:lnTo>
                    <a:pt x="814" y="584"/>
                  </a:lnTo>
                  <a:lnTo>
                    <a:pt x="799" y="584"/>
                  </a:lnTo>
                  <a:lnTo>
                    <a:pt x="771" y="584"/>
                  </a:lnTo>
                  <a:lnTo>
                    <a:pt x="756" y="584"/>
                  </a:lnTo>
                  <a:lnTo>
                    <a:pt x="742" y="598"/>
                  </a:lnTo>
                  <a:lnTo>
                    <a:pt x="742" y="625"/>
                  </a:lnTo>
                  <a:lnTo>
                    <a:pt x="729" y="656"/>
                  </a:lnTo>
                  <a:lnTo>
                    <a:pt x="742" y="685"/>
                  </a:lnTo>
                  <a:lnTo>
                    <a:pt x="742" y="699"/>
                  </a:lnTo>
                  <a:lnTo>
                    <a:pt x="742" y="726"/>
                  </a:lnTo>
                  <a:lnTo>
                    <a:pt x="729" y="726"/>
                  </a:lnTo>
                  <a:lnTo>
                    <a:pt x="698" y="699"/>
                  </a:lnTo>
                  <a:lnTo>
                    <a:pt x="684" y="699"/>
                  </a:lnTo>
                  <a:lnTo>
                    <a:pt x="671" y="712"/>
                  </a:lnTo>
                  <a:lnTo>
                    <a:pt x="626" y="699"/>
                  </a:lnTo>
                  <a:lnTo>
                    <a:pt x="614" y="699"/>
                  </a:lnTo>
                  <a:lnTo>
                    <a:pt x="599" y="712"/>
                  </a:lnTo>
                  <a:lnTo>
                    <a:pt x="599" y="726"/>
                  </a:lnTo>
                  <a:lnTo>
                    <a:pt x="585" y="741"/>
                  </a:lnTo>
                  <a:lnTo>
                    <a:pt x="570" y="712"/>
                  </a:lnTo>
                  <a:lnTo>
                    <a:pt x="558" y="699"/>
                  </a:lnTo>
                  <a:lnTo>
                    <a:pt x="543" y="726"/>
                  </a:lnTo>
                  <a:lnTo>
                    <a:pt x="529" y="712"/>
                  </a:lnTo>
                  <a:lnTo>
                    <a:pt x="515" y="699"/>
                  </a:lnTo>
                  <a:lnTo>
                    <a:pt x="484" y="699"/>
                  </a:lnTo>
                  <a:lnTo>
                    <a:pt x="471" y="712"/>
                  </a:lnTo>
                  <a:lnTo>
                    <a:pt x="428" y="712"/>
                  </a:lnTo>
                  <a:lnTo>
                    <a:pt x="413" y="699"/>
                  </a:lnTo>
                  <a:lnTo>
                    <a:pt x="399" y="699"/>
                  </a:lnTo>
                  <a:lnTo>
                    <a:pt x="343" y="685"/>
                  </a:lnTo>
                  <a:lnTo>
                    <a:pt x="316" y="668"/>
                  </a:lnTo>
                  <a:lnTo>
                    <a:pt x="271" y="656"/>
                  </a:lnTo>
                  <a:lnTo>
                    <a:pt x="230" y="656"/>
                  </a:lnTo>
                  <a:lnTo>
                    <a:pt x="186" y="668"/>
                  </a:lnTo>
                  <a:lnTo>
                    <a:pt x="159" y="668"/>
                  </a:lnTo>
                  <a:lnTo>
                    <a:pt x="128" y="668"/>
                  </a:lnTo>
                  <a:lnTo>
                    <a:pt x="100" y="685"/>
                  </a:lnTo>
                  <a:lnTo>
                    <a:pt x="100" y="699"/>
                  </a:lnTo>
                  <a:lnTo>
                    <a:pt x="87" y="712"/>
                  </a:lnTo>
                  <a:lnTo>
                    <a:pt x="71" y="726"/>
                  </a:lnTo>
                  <a:lnTo>
                    <a:pt x="58" y="712"/>
                  </a:lnTo>
                  <a:lnTo>
                    <a:pt x="42" y="712"/>
                  </a:lnTo>
                  <a:lnTo>
                    <a:pt x="29" y="741"/>
                  </a:lnTo>
                  <a:lnTo>
                    <a:pt x="29" y="726"/>
                  </a:lnTo>
                  <a:close/>
                </a:path>
              </a:pathLst>
            </a:custGeom>
            <a:grpFill/>
            <a:ln w="3175" cmpd="sng">
              <a:solidFill>
                <a:schemeClr val="bg1"/>
              </a:solidFill>
              <a:round/>
              <a:headEnd/>
              <a:tailEnd/>
            </a:ln>
          </p:spPr>
          <p:txBody>
            <a:bodyPr/>
            <a:lstStyle/>
            <a:p>
              <a:endParaRPr lang="da-DK"/>
            </a:p>
          </p:txBody>
        </p:sp>
        <p:sp>
          <p:nvSpPr>
            <p:cNvPr id="95" name="Freeform 1136">
              <a:extLst>
                <a:ext uri="{FF2B5EF4-FFF2-40B4-BE49-F238E27FC236}">
                  <a16:creationId xmlns:a16="http://schemas.microsoft.com/office/drawing/2014/main" id="{D4029D08-525C-B31A-E19D-2BA4D5FDEAFD}"/>
                </a:ext>
              </a:extLst>
            </p:cNvPr>
            <p:cNvSpPr>
              <a:spLocks/>
            </p:cNvSpPr>
            <p:nvPr>
              <p:custDataLst>
                <p:tags r:id="rId74"/>
              </p:custDataLst>
            </p:nvPr>
          </p:nvSpPr>
          <p:spPr bwMode="auto">
            <a:xfrm>
              <a:off x="6215856" y="3556019"/>
              <a:ext cx="2085181" cy="951548"/>
            </a:xfrm>
            <a:custGeom>
              <a:avLst/>
              <a:gdLst>
                <a:gd name="T0" fmla="*/ 1141258 w 1914"/>
                <a:gd name="T1" fmla="*/ 1028700 h 968"/>
                <a:gd name="T2" fmla="*/ 1226058 w 1914"/>
                <a:gd name="T3" fmla="*/ 952185 h 968"/>
                <a:gd name="T4" fmla="*/ 1294368 w 1914"/>
                <a:gd name="T5" fmla="*/ 906489 h 968"/>
                <a:gd name="T6" fmla="*/ 1326168 w 1914"/>
                <a:gd name="T7" fmla="*/ 923492 h 968"/>
                <a:gd name="T8" fmla="*/ 1310857 w 1914"/>
                <a:gd name="T9" fmla="*/ 998944 h 968"/>
                <a:gd name="T10" fmla="*/ 1476922 w 1914"/>
                <a:gd name="T11" fmla="*/ 983004 h 968"/>
                <a:gd name="T12" fmla="*/ 1546411 w 1914"/>
                <a:gd name="T13" fmla="*/ 952185 h 968"/>
                <a:gd name="T14" fmla="*/ 1664188 w 1914"/>
                <a:gd name="T15" fmla="*/ 952185 h 968"/>
                <a:gd name="T16" fmla="*/ 1712476 w 1914"/>
                <a:gd name="T17" fmla="*/ 906489 h 968"/>
                <a:gd name="T18" fmla="*/ 1847920 w 1914"/>
                <a:gd name="T19" fmla="*/ 861855 h 968"/>
                <a:gd name="T20" fmla="*/ 1948030 w 1914"/>
                <a:gd name="T21" fmla="*/ 829974 h 968"/>
                <a:gd name="T22" fmla="*/ 2016341 w 1914"/>
                <a:gd name="T23" fmla="*/ 754522 h 968"/>
                <a:gd name="T24" fmla="*/ 2066985 w 1914"/>
                <a:gd name="T25" fmla="*/ 723703 h 968"/>
                <a:gd name="T26" fmla="*/ 2201250 w 1914"/>
                <a:gd name="T27" fmla="*/ 574924 h 968"/>
                <a:gd name="T28" fmla="*/ 2201250 w 1914"/>
                <a:gd name="T29" fmla="*/ 436772 h 968"/>
                <a:gd name="T30" fmla="*/ 2201250 w 1914"/>
                <a:gd name="T31" fmla="*/ 377261 h 968"/>
                <a:gd name="T32" fmla="*/ 2254250 w 1914"/>
                <a:gd name="T33" fmla="*/ 272053 h 968"/>
                <a:gd name="T34" fmla="*/ 2116451 w 1914"/>
                <a:gd name="T35" fmla="*/ 272053 h 968"/>
                <a:gd name="T36" fmla="*/ 2052851 w 1914"/>
                <a:gd name="T37" fmla="*/ 255050 h 968"/>
                <a:gd name="T38" fmla="*/ 1965697 w 1914"/>
                <a:gd name="T39" fmla="*/ 255050 h 968"/>
                <a:gd name="T40" fmla="*/ 1851453 w 1914"/>
                <a:gd name="T41" fmla="*/ 226357 h 968"/>
                <a:gd name="T42" fmla="*/ 1748987 w 1914"/>
                <a:gd name="T43" fmla="*/ 255050 h 968"/>
                <a:gd name="T44" fmla="*/ 1648877 w 1914"/>
                <a:gd name="T45" fmla="*/ 241234 h 968"/>
                <a:gd name="T46" fmla="*/ 1582922 w 1914"/>
                <a:gd name="T47" fmla="*/ 166845 h 968"/>
                <a:gd name="T48" fmla="*/ 1479278 w 1914"/>
                <a:gd name="T49" fmla="*/ 136026 h 968"/>
                <a:gd name="T50" fmla="*/ 1432167 w 1914"/>
                <a:gd name="T51" fmla="*/ 43571 h 968"/>
                <a:gd name="T52" fmla="*/ 1313213 w 1914"/>
                <a:gd name="T53" fmla="*/ 0 h 968"/>
                <a:gd name="T54" fmla="*/ 1209569 w 1914"/>
                <a:gd name="T55" fmla="*/ 15941 h 968"/>
                <a:gd name="T56" fmla="*/ 1143614 w 1914"/>
                <a:gd name="T57" fmla="*/ 59512 h 968"/>
                <a:gd name="T58" fmla="*/ 1041148 w 1914"/>
                <a:gd name="T59" fmla="*/ 51010 h 968"/>
                <a:gd name="T60" fmla="*/ 1016415 w 1914"/>
                <a:gd name="T61" fmla="*/ 179597 h 968"/>
                <a:gd name="T62" fmla="*/ 943393 w 1914"/>
                <a:gd name="T63" fmla="*/ 195538 h 968"/>
                <a:gd name="T64" fmla="*/ 842105 w 1914"/>
                <a:gd name="T65" fmla="*/ 226357 h 968"/>
                <a:gd name="T66" fmla="*/ 759661 w 1914"/>
                <a:gd name="T67" fmla="*/ 181723 h 968"/>
                <a:gd name="T68" fmla="*/ 623040 w 1914"/>
                <a:gd name="T69" fmla="*/ 181723 h 968"/>
                <a:gd name="T70" fmla="*/ 369819 w 1914"/>
                <a:gd name="T71" fmla="*/ 148779 h 968"/>
                <a:gd name="T72" fmla="*/ 248509 w 1914"/>
                <a:gd name="T73" fmla="*/ 195538 h 968"/>
                <a:gd name="T74" fmla="*/ 191976 w 1914"/>
                <a:gd name="T75" fmla="*/ 230607 h 968"/>
                <a:gd name="T76" fmla="*/ 234376 w 1914"/>
                <a:gd name="T77" fmla="*/ 317749 h 968"/>
                <a:gd name="T78" fmla="*/ 234376 w 1914"/>
                <a:gd name="T79" fmla="*/ 408079 h 968"/>
                <a:gd name="T80" fmla="*/ 102466 w 1914"/>
                <a:gd name="T81" fmla="*/ 496284 h 968"/>
                <a:gd name="T82" fmla="*/ 65955 w 1914"/>
                <a:gd name="T83" fmla="*/ 620621 h 968"/>
                <a:gd name="T84" fmla="*/ 34155 w 1914"/>
                <a:gd name="T85" fmla="*/ 770462 h 968"/>
                <a:gd name="T86" fmla="*/ 234376 w 1914"/>
                <a:gd name="T87" fmla="*/ 816159 h 968"/>
                <a:gd name="T88" fmla="*/ 385130 w 1914"/>
                <a:gd name="T89" fmla="*/ 801281 h 968"/>
                <a:gd name="T90" fmla="*/ 522929 w 1914"/>
                <a:gd name="T91" fmla="*/ 739644 h 968"/>
                <a:gd name="T92" fmla="*/ 606551 w 1914"/>
                <a:gd name="T93" fmla="*/ 739644 h 968"/>
                <a:gd name="T94" fmla="*/ 737283 w 1914"/>
                <a:gd name="T95" fmla="*/ 708825 h 968"/>
                <a:gd name="T96" fmla="*/ 839749 w 1914"/>
                <a:gd name="T97" fmla="*/ 723703 h 968"/>
                <a:gd name="T98" fmla="*/ 924549 w 1914"/>
                <a:gd name="T99" fmla="*/ 770462 h 968"/>
                <a:gd name="T100" fmla="*/ 941037 w 1914"/>
                <a:gd name="T101" fmla="*/ 861855 h 968"/>
                <a:gd name="T102" fmla="*/ 1009348 w 1914"/>
                <a:gd name="T103" fmla="*/ 923492 h 968"/>
                <a:gd name="T104" fmla="*/ 1058814 w 1914"/>
                <a:gd name="T105" fmla="*/ 983004 h 9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14" h="968">
                  <a:moveTo>
                    <a:pt x="913" y="954"/>
                  </a:moveTo>
                  <a:lnTo>
                    <a:pt x="927" y="940"/>
                  </a:lnTo>
                  <a:lnTo>
                    <a:pt x="942" y="954"/>
                  </a:lnTo>
                  <a:lnTo>
                    <a:pt x="956" y="968"/>
                  </a:lnTo>
                  <a:lnTo>
                    <a:pt x="969" y="968"/>
                  </a:lnTo>
                  <a:lnTo>
                    <a:pt x="969" y="925"/>
                  </a:lnTo>
                  <a:lnTo>
                    <a:pt x="985" y="896"/>
                  </a:lnTo>
                  <a:lnTo>
                    <a:pt x="998" y="896"/>
                  </a:lnTo>
                  <a:lnTo>
                    <a:pt x="1012" y="911"/>
                  </a:lnTo>
                  <a:lnTo>
                    <a:pt x="1041" y="896"/>
                  </a:lnTo>
                  <a:lnTo>
                    <a:pt x="1070" y="869"/>
                  </a:lnTo>
                  <a:lnTo>
                    <a:pt x="1084" y="869"/>
                  </a:lnTo>
                  <a:lnTo>
                    <a:pt x="1084" y="880"/>
                  </a:lnTo>
                  <a:lnTo>
                    <a:pt x="1099" y="880"/>
                  </a:lnTo>
                  <a:lnTo>
                    <a:pt x="1099" y="853"/>
                  </a:lnTo>
                  <a:lnTo>
                    <a:pt x="1099" y="840"/>
                  </a:lnTo>
                  <a:lnTo>
                    <a:pt x="1099" y="811"/>
                  </a:lnTo>
                  <a:lnTo>
                    <a:pt x="1113" y="840"/>
                  </a:lnTo>
                  <a:lnTo>
                    <a:pt x="1126" y="853"/>
                  </a:lnTo>
                  <a:lnTo>
                    <a:pt x="1126" y="869"/>
                  </a:lnTo>
                  <a:lnTo>
                    <a:pt x="1142" y="896"/>
                  </a:lnTo>
                  <a:lnTo>
                    <a:pt x="1113" y="896"/>
                  </a:lnTo>
                  <a:lnTo>
                    <a:pt x="1113" y="911"/>
                  </a:lnTo>
                  <a:lnTo>
                    <a:pt x="1113" y="925"/>
                  </a:lnTo>
                  <a:lnTo>
                    <a:pt x="1113" y="940"/>
                  </a:lnTo>
                  <a:lnTo>
                    <a:pt x="1142" y="954"/>
                  </a:lnTo>
                  <a:lnTo>
                    <a:pt x="1167" y="968"/>
                  </a:lnTo>
                  <a:lnTo>
                    <a:pt x="1214" y="940"/>
                  </a:lnTo>
                  <a:lnTo>
                    <a:pt x="1241" y="925"/>
                  </a:lnTo>
                  <a:lnTo>
                    <a:pt x="1254" y="925"/>
                  </a:lnTo>
                  <a:lnTo>
                    <a:pt x="1270" y="911"/>
                  </a:lnTo>
                  <a:lnTo>
                    <a:pt x="1283" y="954"/>
                  </a:lnTo>
                  <a:lnTo>
                    <a:pt x="1297" y="940"/>
                  </a:lnTo>
                  <a:lnTo>
                    <a:pt x="1313" y="911"/>
                  </a:lnTo>
                  <a:lnTo>
                    <a:pt x="1313" y="896"/>
                  </a:lnTo>
                  <a:lnTo>
                    <a:pt x="1326" y="896"/>
                  </a:lnTo>
                  <a:lnTo>
                    <a:pt x="1342" y="911"/>
                  </a:lnTo>
                  <a:lnTo>
                    <a:pt x="1355" y="896"/>
                  </a:lnTo>
                  <a:lnTo>
                    <a:pt x="1369" y="896"/>
                  </a:lnTo>
                  <a:lnTo>
                    <a:pt x="1413" y="896"/>
                  </a:lnTo>
                  <a:lnTo>
                    <a:pt x="1413" y="911"/>
                  </a:lnTo>
                  <a:lnTo>
                    <a:pt x="1427" y="911"/>
                  </a:lnTo>
                  <a:lnTo>
                    <a:pt x="1427" y="896"/>
                  </a:lnTo>
                  <a:lnTo>
                    <a:pt x="1441" y="896"/>
                  </a:lnTo>
                  <a:lnTo>
                    <a:pt x="1454" y="853"/>
                  </a:lnTo>
                  <a:lnTo>
                    <a:pt x="1483" y="840"/>
                  </a:lnTo>
                  <a:lnTo>
                    <a:pt x="1483" y="869"/>
                  </a:lnTo>
                  <a:lnTo>
                    <a:pt x="1499" y="869"/>
                  </a:lnTo>
                  <a:lnTo>
                    <a:pt x="1541" y="824"/>
                  </a:lnTo>
                  <a:lnTo>
                    <a:pt x="1569" y="811"/>
                  </a:lnTo>
                  <a:lnTo>
                    <a:pt x="1582" y="795"/>
                  </a:lnTo>
                  <a:lnTo>
                    <a:pt x="1598" y="781"/>
                  </a:lnTo>
                  <a:lnTo>
                    <a:pt x="1611" y="781"/>
                  </a:lnTo>
                  <a:lnTo>
                    <a:pt x="1640" y="795"/>
                  </a:lnTo>
                  <a:lnTo>
                    <a:pt x="1654" y="781"/>
                  </a:lnTo>
                  <a:lnTo>
                    <a:pt x="1640" y="768"/>
                  </a:lnTo>
                  <a:lnTo>
                    <a:pt x="1667" y="754"/>
                  </a:lnTo>
                  <a:lnTo>
                    <a:pt x="1683" y="725"/>
                  </a:lnTo>
                  <a:lnTo>
                    <a:pt x="1698" y="710"/>
                  </a:lnTo>
                  <a:lnTo>
                    <a:pt x="1712" y="710"/>
                  </a:lnTo>
                  <a:lnTo>
                    <a:pt x="1726" y="696"/>
                  </a:lnTo>
                  <a:lnTo>
                    <a:pt x="1726" y="681"/>
                  </a:lnTo>
                  <a:lnTo>
                    <a:pt x="1741" y="696"/>
                  </a:lnTo>
                  <a:lnTo>
                    <a:pt x="1753" y="696"/>
                  </a:lnTo>
                  <a:lnTo>
                    <a:pt x="1755" y="681"/>
                  </a:lnTo>
                  <a:lnTo>
                    <a:pt x="1755" y="613"/>
                  </a:lnTo>
                  <a:lnTo>
                    <a:pt x="1797" y="597"/>
                  </a:lnTo>
                  <a:lnTo>
                    <a:pt x="1813" y="555"/>
                  </a:lnTo>
                  <a:lnTo>
                    <a:pt x="1826" y="541"/>
                  </a:lnTo>
                  <a:lnTo>
                    <a:pt x="1869" y="541"/>
                  </a:lnTo>
                  <a:lnTo>
                    <a:pt x="1898" y="541"/>
                  </a:lnTo>
                  <a:lnTo>
                    <a:pt x="1914" y="496"/>
                  </a:lnTo>
                  <a:lnTo>
                    <a:pt x="1914" y="456"/>
                  </a:lnTo>
                  <a:lnTo>
                    <a:pt x="1883" y="411"/>
                  </a:lnTo>
                  <a:lnTo>
                    <a:pt x="1869" y="411"/>
                  </a:lnTo>
                  <a:lnTo>
                    <a:pt x="1869" y="397"/>
                  </a:lnTo>
                  <a:lnTo>
                    <a:pt x="1883" y="384"/>
                  </a:lnTo>
                  <a:lnTo>
                    <a:pt x="1898" y="368"/>
                  </a:lnTo>
                  <a:lnTo>
                    <a:pt x="1898" y="355"/>
                  </a:lnTo>
                  <a:lnTo>
                    <a:pt x="1869" y="355"/>
                  </a:lnTo>
                  <a:lnTo>
                    <a:pt x="1856" y="343"/>
                  </a:lnTo>
                  <a:lnTo>
                    <a:pt x="1869" y="328"/>
                  </a:lnTo>
                  <a:lnTo>
                    <a:pt x="1898" y="314"/>
                  </a:lnTo>
                  <a:lnTo>
                    <a:pt x="1914" y="299"/>
                  </a:lnTo>
                  <a:lnTo>
                    <a:pt x="1914" y="256"/>
                  </a:lnTo>
                  <a:lnTo>
                    <a:pt x="1898" y="256"/>
                  </a:lnTo>
                  <a:lnTo>
                    <a:pt x="1883" y="271"/>
                  </a:lnTo>
                  <a:lnTo>
                    <a:pt x="1856" y="271"/>
                  </a:lnTo>
                  <a:lnTo>
                    <a:pt x="1826" y="256"/>
                  </a:lnTo>
                  <a:lnTo>
                    <a:pt x="1797" y="256"/>
                  </a:lnTo>
                  <a:lnTo>
                    <a:pt x="1797" y="271"/>
                  </a:lnTo>
                  <a:lnTo>
                    <a:pt x="1786" y="256"/>
                  </a:lnTo>
                  <a:lnTo>
                    <a:pt x="1786" y="240"/>
                  </a:lnTo>
                  <a:lnTo>
                    <a:pt x="1770" y="240"/>
                  </a:lnTo>
                  <a:lnTo>
                    <a:pt x="1743" y="240"/>
                  </a:lnTo>
                  <a:lnTo>
                    <a:pt x="1743" y="256"/>
                  </a:lnTo>
                  <a:lnTo>
                    <a:pt x="1714" y="256"/>
                  </a:lnTo>
                  <a:lnTo>
                    <a:pt x="1714" y="240"/>
                  </a:lnTo>
                  <a:lnTo>
                    <a:pt x="1685" y="256"/>
                  </a:lnTo>
                  <a:lnTo>
                    <a:pt x="1669" y="240"/>
                  </a:lnTo>
                  <a:lnTo>
                    <a:pt x="1656" y="227"/>
                  </a:lnTo>
                  <a:lnTo>
                    <a:pt x="1656" y="240"/>
                  </a:lnTo>
                  <a:lnTo>
                    <a:pt x="1627" y="256"/>
                  </a:lnTo>
                  <a:lnTo>
                    <a:pt x="1582" y="227"/>
                  </a:lnTo>
                  <a:lnTo>
                    <a:pt x="1572" y="213"/>
                  </a:lnTo>
                  <a:lnTo>
                    <a:pt x="1572" y="198"/>
                  </a:lnTo>
                  <a:lnTo>
                    <a:pt x="1543" y="198"/>
                  </a:lnTo>
                  <a:lnTo>
                    <a:pt x="1514" y="227"/>
                  </a:lnTo>
                  <a:lnTo>
                    <a:pt x="1501" y="240"/>
                  </a:lnTo>
                  <a:lnTo>
                    <a:pt x="1485" y="240"/>
                  </a:lnTo>
                  <a:lnTo>
                    <a:pt x="1470" y="227"/>
                  </a:lnTo>
                  <a:lnTo>
                    <a:pt x="1456" y="240"/>
                  </a:lnTo>
                  <a:lnTo>
                    <a:pt x="1441" y="227"/>
                  </a:lnTo>
                  <a:lnTo>
                    <a:pt x="1429" y="227"/>
                  </a:lnTo>
                  <a:lnTo>
                    <a:pt x="1400" y="227"/>
                  </a:lnTo>
                  <a:lnTo>
                    <a:pt x="1382" y="227"/>
                  </a:lnTo>
                  <a:lnTo>
                    <a:pt x="1382" y="213"/>
                  </a:lnTo>
                  <a:lnTo>
                    <a:pt x="1371" y="171"/>
                  </a:lnTo>
                  <a:lnTo>
                    <a:pt x="1371" y="157"/>
                  </a:lnTo>
                  <a:lnTo>
                    <a:pt x="1344" y="157"/>
                  </a:lnTo>
                  <a:lnTo>
                    <a:pt x="1328" y="128"/>
                  </a:lnTo>
                  <a:lnTo>
                    <a:pt x="1328" y="112"/>
                  </a:lnTo>
                  <a:lnTo>
                    <a:pt x="1314" y="112"/>
                  </a:lnTo>
                  <a:lnTo>
                    <a:pt x="1301" y="128"/>
                  </a:lnTo>
                  <a:lnTo>
                    <a:pt x="1256" y="128"/>
                  </a:lnTo>
                  <a:lnTo>
                    <a:pt x="1227" y="128"/>
                  </a:lnTo>
                  <a:lnTo>
                    <a:pt x="1227" y="112"/>
                  </a:lnTo>
                  <a:lnTo>
                    <a:pt x="1227" y="83"/>
                  </a:lnTo>
                  <a:lnTo>
                    <a:pt x="1227" y="56"/>
                  </a:lnTo>
                  <a:lnTo>
                    <a:pt x="1216" y="41"/>
                  </a:lnTo>
                  <a:lnTo>
                    <a:pt x="1200" y="15"/>
                  </a:lnTo>
                  <a:lnTo>
                    <a:pt x="1185" y="0"/>
                  </a:lnTo>
                  <a:lnTo>
                    <a:pt x="1171" y="0"/>
                  </a:lnTo>
                  <a:lnTo>
                    <a:pt x="1142" y="15"/>
                  </a:lnTo>
                  <a:lnTo>
                    <a:pt x="1115" y="0"/>
                  </a:lnTo>
                  <a:lnTo>
                    <a:pt x="1099" y="0"/>
                  </a:lnTo>
                  <a:lnTo>
                    <a:pt x="1086" y="15"/>
                  </a:lnTo>
                  <a:lnTo>
                    <a:pt x="1072" y="15"/>
                  </a:lnTo>
                  <a:lnTo>
                    <a:pt x="1043" y="27"/>
                  </a:lnTo>
                  <a:lnTo>
                    <a:pt x="1027" y="15"/>
                  </a:lnTo>
                  <a:lnTo>
                    <a:pt x="1000" y="27"/>
                  </a:lnTo>
                  <a:lnTo>
                    <a:pt x="1000" y="41"/>
                  </a:lnTo>
                  <a:lnTo>
                    <a:pt x="1000" y="27"/>
                  </a:lnTo>
                  <a:lnTo>
                    <a:pt x="1000" y="56"/>
                  </a:lnTo>
                  <a:lnTo>
                    <a:pt x="971" y="56"/>
                  </a:lnTo>
                  <a:lnTo>
                    <a:pt x="958" y="56"/>
                  </a:lnTo>
                  <a:lnTo>
                    <a:pt x="942" y="56"/>
                  </a:lnTo>
                  <a:lnTo>
                    <a:pt x="927" y="48"/>
                  </a:lnTo>
                  <a:lnTo>
                    <a:pt x="901" y="48"/>
                  </a:lnTo>
                  <a:lnTo>
                    <a:pt x="884" y="48"/>
                  </a:lnTo>
                  <a:lnTo>
                    <a:pt x="863" y="68"/>
                  </a:lnTo>
                  <a:lnTo>
                    <a:pt x="863" y="95"/>
                  </a:lnTo>
                  <a:lnTo>
                    <a:pt x="853" y="128"/>
                  </a:lnTo>
                  <a:lnTo>
                    <a:pt x="868" y="159"/>
                  </a:lnTo>
                  <a:lnTo>
                    <a:pt x="863" y="169"/>
                  </a:lnTo>
                  <a:lnTo>
                    <a:pt x="863" y="202"/>
                  </a:lnTo>
                  <a:lnTo>
                    <a:pt x="857" y="198"/>
                  </a:lnTo>
                  <a:lnTo>
                    <a:pt x="828" y="171"/>
                  </a:lnTo>
                  <a:lnTo>
                    <a:pt x="814" y="171"/>
                  </a:lnTo>
                  <a:lnTo>
                    <a:pt x="801" y="184"/>
                  </a:lnTo>
                  <a:lnTo>
                    <a:pt x="756" y="171"/>
                  </a:lnTo>
                  <a:lnTo>
                    <a:pt x="744" y="171"/>
                  </a:lnTo>
                  <a:lnTo>
                    <a:pt x="725" y="184"/>
                  </a:lnTo>
                  <a:lnTo>
                    <a:pt x="721" y="202"/>
                  </a:lnTo>
                  <a:lnTo>
                    <a:pt x="715" y="213"/>
                  </a:lnTo>
                  <a:lnTo>
                    <a:pt x="698" y="174"/>
                  </a:lnTo>
                  <a:lnTo>
                    <a:pt x="682" y="169"/>
                  </a:lnTo>
                  <a:lnTo>
                    <a:pt x="667" y="202"/>
                  </a:lnTo>
                  <a:lnTo>
                    <a:pt x="659" y="184"/>
                  </a:lnTo>
                  <a:lnTo>
                    <a:pt x="645" y="171"/>
                  </a:lnTo>
                  <a:lnTo>
                    <a:pt x="614" y="171"/>
                  </a:lnTo>
                  <a:lnTo>
                    <a:pt x="599" y="184"/>
                  </a:lnTo>
                  <a:lnTo>
                    <a:pt x="558" y="184"/>
                  </a:lnTo>
                  <a:lnTo>
                    <a:pt x="543" y="171"/>
                  </a:lnTo>
                  <a:lnTo>
                    <a:pt x="529" y="171"/>
                  </a:lnTo>
                  <a:lnTo>
                    <a:pt x="473" y="157"/>
                  </a:lnTo>
                  <a:lnTo>
                    <a:pt x="446" y="140"/>
                  </a:lnTo>
                  <a:lnTo>
                    <a:pt x="401" y="128"/>
                  </a:lnTo>
                  <a:lnTo>
                    <a:pt x="360" y="128"/>
                  </a:lnTo>
                  <a:lnTo>
                    <a:pt x="314" y="140"/>
                  </a:lnTo>
                  <a:lnTo>
                    <a:pt x="289" y="140"/>
                  </a:lnTo>
                  <a:lnTo>
                    <a:pt x="259" y="138"/>
                  </a:lnTo>
                  <a:lnTo>
                    <a:pt x="232" y="153"/>
                  </a:lnTo>
                  <a:lnTo>
                    <a:pt x="227" y="169"/>
                  </a:lnTo>
                  <a:lnTo>
                    <a:pt x="211" y="184"/>
                  </a:lnTo>
                  <a:lnTo>
                    <a:pt x="201" y="198"/>
                  </a:lnTo>
                  <a:lnTo>
                    <a:pt x="186" y="184"/>
                  </a:lnTo>
                  <a:lnTo>
                    <a:pt x="168" y="184"/>
                  </a:lnTo>
                  <a:lnTo>
                    <a:pt x="159" y="213"/>
                  </a:lnTo>
                  <a:lnTo>
                    <a:pt x="163" y="217"/>
                  </a:lnTo>
                  <a:lnTo>
                    <a:pt x="157" y="227"/>
                  </a:lnTo>
                  <a:lnTo>
                    <a:pt x="143" y="240"/>
                  </a:lnTo>
                  <a:lnTo>
                    <a:pt x="157" y="256"/>
                  </a:lnTo>
                  <a:lnTo>
                    <a:pt x="186" y="285"/>
                  </a:lnTo>
                  <a:lnTo>
                    <a:pt x="199" y="299"/>
                  </a:lnTo>
                  <a:lnTo>
                    <a:pt x="186" y="314"/>
                  </a:lnTo>
                  <a:lnTo>
                    <a:pt x="186" y="328"/>
                  </a:lnTo>
                  <a:lnTo>
                    <a:pt x="199" y="343"/>
                  </a:lnTo>
                  <a:lnTo>
                    <a:pt x="199" y="368"/>
                  </a:lnTo>
                  <a:lnTo>
                    <a:pt x="199" y="384"/>
                  </a:lnTo>
                  <a:lnTo>
                    <a:pt x="186" y="384"/>
                  </a:lnTo>
                  <a:lnTo>
                    <a:pt x="170" y="384"/>
                  </a:lnTo>
                  <a:lnTo>
                    <a:pt x="157" y="411"/>
                  </a:lnTo>
                  <a:lnTo>
                    <a:pt x="128" y="427"/>
                  </a:lnTo>
                  <a:lnTo>
                    <a:pt x="87" y="467"/>
                  </a:lnTo>
                  <a:lnTo>
                    <a:pt x="71" y="483"/>
                  </a:lnTo>
                  <a:lnTo>
                    <a:pt x="56" y="512"/>
                  </a:lnTo>
                  <a:lnTo>
                    <a:pt x="71" y="555"/>
                  </a:lnTo>
                  <a:lnTo>
                    <a:pt x="71" y="584"/>
                  </a:lnTo>
                  <a:lnTo>
                    <a:pt x="56" y="584"/>
                  </a:lnTo>
                  <a:lnTo>
                    <a:pt x="44" y="584"/>
                  </a:lnTo>
                  <a:lnTo>
                    <a:pt x="15" y="626"/>
                  </a:lnTo>
                  <a:lnTo>
                    <a:pt x="0" y="667"/>
                  </a:lnTo>
                  <a:lnTo>
                    <a:pt x="0" y="696"/>
                  </a:lnTo>
                  <a:lnTo>
                    <a:pt x="29" y="725"/>
                  </a:lnTo>
                  <a:lnTo>
                    <a:pt x="56" y="739"/>
                  </a:lnTo>
                  <a:lnTo>
                    <a:pt x="87" y="739"/>
                  </a:lnTo>
                  <a:lnTo>
                    <a:pt x="143" y="739"/>
                  </a:lnTo>
                  <a:lnTo>
                    <a:pt x="170" y="754"/>
                  </a:lnTo>
                  <a:lnTo>
                    <a:pt x="199" y="768"/>
                  </a:lnTo>
                  <a:lnTo>
                    <a:pt x="242" y="754"/>
                  </a:lnTo>
                  <a:lnTo>
                    <a:pt x="256" y="739"/>
                  </a:lnTo>
                  <a:lnTo>
                    <a:pt x="287" y="754"/>
                  </a:lnTo>
                  <a:lnTo>
                    <a:pt x="300" y="768"/>
                  </a:lnTo>
                  <a:lnTo>
                    <a:pt x="327" y="754"/>
                  </a:lnTo>
                  <a:lnTo>
                    <a:pt x="358" y="725"/>
                  </a:lnTo>
                  <a:lnTo>
                    <a:pt x="384" y="725"/>
                  </a:lnTo>
                  <a:lnTo>
                    <a:pt x="413" y="725"/>
                  </a:lnTo>
                  <a:lnTo>
                    <a:pt x="428" y="725"/>
                  </a:lnTo>
                  <a:lnTo>
                    <a:pt x="444" y="696"/>
                  </a:lnTo>
                  <a:lnTo>
                    <a:pt x="457" y="696"/>
                  </a:lnTo>
                  <a:lnTo>
                    <a:pt x="484" y="696"/>
                  </a:lnTo>
                  <a:lnTo>
                    <a:pt x="484" y="681"/>
                  </a:lnTo>
                  <a:lnTo>
                    <a:pt x="500" y="696"/>
                  </a:lnTo>
                  <a:lnTo>
                    <a:pt x="515" y="696"/>
                  </a:lnTo>
                  <a:lnTo>
                    <a:pt x="556" y="681"/>
                  </a:lnTo>
                  <a:lnTo>
                    <a:pt x="570" y="667"/>
                  </a:lnTo>
                  <a:lnTo>
                    <a:pt x="585" y="655"/>
                  </a:lnTo>
                  <a:lnTo>
                    <a:pt x="626" y="655"/>
                  </a:lnTo>
                  <a:lnTo>
                    <a:pt x="626" y="667"/>
                  </a:lnTo>
                  <a:lnTo>
                    <a:pt x="657" y="667"/>
                  </a:lnTo>
                  <a:lnTo>
                    <a:pt x="671" y="681"/>
                  </a:lnTo>
                  <a:lnTo>
                    <a:pt x="686" y="696"/>
                  </a:lnTo>
                  <a:lnTo>
                    <a:pt x="698" y="681"/>
                  </a:lnTo>
                  <a:lnTo>
                    <a:pt x="713" y="681"/>
                  </a:lnTo>
                  <a:lnTo>
                    <a:pt x="727" y="696"/>
                  </a:lnTo>
                  <a:lnTo>
                    <a:pt x="754" y="710"/>
                  </a:lnTo>
                  <a:lnTo>
                    <a:pt x="754" y="696"/>
                  </a:lnTo>
                  <a:lnTo>
                    <a:pt x="785" y="710"/>
                  </a:lnTo>
                  <a:lnTo>
                    <a:pt x="785" y="725"/>
                  </a:lnTo>
                  <a:lnTo>
                    <a:pt x="785" y="739"/>
                  </a:lnTo>
                  <a:lnTo>
                    <a:pt x="799" y="739"/>
                  </a:lnTo>
                  <a:lnTo>
                    <a:pt x="799" y="768"/>
                  </a:lnTo>
                  <a:lnTo>
                    <a:pt x="799" y="795"/>
                  </a:lnTo>
                  <a:lnTo>
                    <a:pt x="799" y="811"/>
                  </a:lnTo>
                  <a:lnTo>
                    <a:pt x="812" y="811"/>
                  </a:lnTo>
                  <a:lnTo>
                    <a:pt x="826" y="811"/>
                  </a:lnTo>
                  <a:lnTo>
                    <a:pt x="841" y="840"/>
                  </a:lnTo>
                  <a:lnTo>
                    <a:pt x="841" y="869"/>
                  </a:lnTo>
                  <a:lnTo>
                    <a:pt x="857" y="869"/>
                  </a:lnTo>
                  <a:lnTo>
                    <a:pt x="870" y="869"/>
                  </a:lnTo>
                  <a:lnTo>
                    <a:pt x="870" y="880"/>
                  </a:lnTo>
                  <a:lnTo>
                    <a:pt x="870" y="896"/>
                  </a:lnTo>
                  <a:lnTo>
                    <a:pt x="884" y="911"/>
                  </a:lnTo>
                  <a:lnTo>
                    <a:pt x="899" y="925"/>
                  </a:lnTo>
                  <a:lnTo>
                    <a:pt x="913" y="940"/>
                  </a:lnTo>
                  <a:lnTo>
                    <a:pt x="913" y="954"/>
                  </a:lnTo>
                  <a:close/>
                </a:path>
              </a:pathLst>
            </a:custGeom>
            <a:grpFill/>
            <a:ln w="3175" cmpd="sng">
              <a:solidFill>
                <a:schemeClr val="bg1"/>
              </a:solidFill>
              <a:round/>
              <a:headEnd/>
              <a:tailEnd/>
            </a:ln>
          </p:spPr>
          <p:txBody>
            <a:bodyPr/>
            <a:lstStyle/>
            <a:p>
              <a:endParaRPr lang="da-DK"/>
            </a:p>
          </p:txBody>
        </p:sp>
        <p:sp>
          <p:nvSpPr>
            <p:cNvPr id="96" name="Freeform 1137">
              <a:extLst>
                <a:ext uri="{FF2B5EF4-FFF2-40B4-BE49-F238E27FC236}">
                  <a16:creationId xmlns:a16="http://schemas.microsoft.com/office/drawing/2014/main" id="{2A3A88B3-BDDE-56F7-6469-EFCA7A97B3EE}"/>
                </a:ext>
              </a:extLst>
            </p:cNvPr>
            <p:cNvSpPr>
              <a:spLocks/>
            </p:cNvSpPr>
            <p:nvPr>
              <p:custDataLst>
                <p:tags r:id="rId75"/>
              </p:custDataLst>
            </p:nvPr>
          </p:nvSpPr>
          <p:spPr bwMode="auto">
            <a:xfrm>
              <a:off x="4720986" y="4187447"/>
              <a:ext cx="910431" cy="377389"/>
            </a:xfrm>
            <a:custGeom>
              <a:avLst/>
              <a:gdLst>
                <a:gd name="T0" fmla="*/ 852073 w 834"/>
                <a:gd name="T1" fmla="*/ 362539 h 386"/>
                <a:gd name="T2" fmla="*/ 833190 w 834"/>
                <a:gd name="T3" fmla="*/ 362539 h 386"/>
                <a:gd name="T4" fmla="*/ 783624 w 834"/>
                <a:gd name="T5" fmla="*/ 362539 h 386"/>
                <a:gd name="T6" fmla="*/ 730516 w 834"/>
                <a:gd name="T7" fmla="*/ 362539 h 386"/>
                <a:gd name="T8" fmla="*/ 698652 w 834"/>
                <a:gd name="T9" fmla="*/ 393191 h 386"/>
                <a:gd name="T10" fmla="*/ 645545 w 834"/>
                <a:gd name="T11" fmla="*/ 407988 h 386"/>
                <a:gd name="T12" fmla="*/ 595979 w 834"/>
                <a:gd name="T13" fmla="*/ 393191 h 386"/>
                <a:gd name="T14" fmla="*/ 561754 w 834"/>
                <a:gd name="T15" fmla="*/ 393191 h 386"/>
                <a:gd name="T16" fmla="*/ 492125 w 834"/>
                <a:gd name="T17" fmla="*/ 362539 h 386"/>
                <a:gd name="T18" fmla="*/ 426036 w 834"/>
                <a:gd name="T19" fmla="*/ 362539 h 386"/>
                <a:gd name="T20" fmla="*/ 374109 w 834"/>
                <a:gd name="T21" fmla="*/ 331887 h 386"/>
                <a:gd name="T22" fmla="*/ 338705 w 834"/>
                <a:gd name="T23" fmla="*/ 286437 h 386"/>
                <a:gd name="T24" fmla="*/ 272616 w 834"/>
                <a:gd name="T25" fmla="*/ 286437 h 386"/>
                <a:gd name="T26" fmla="*/ 220689 w 834"/>
                <a:gd name="T27" fmla="*/ 272697 h 386"/>
                <a:gd name="T28" fmla="*/ 169942 w 834"/>
                <a:gd name="T29" fmla="*/ 303349 h 386"/>
                <a:gd name="T30" fmla="*/ 151060 w 834"/>
                <a:gd name="T31" fmla="*/ 272697 h 386"/>
                <a:gd name="T32" fmla="*/ 50747 w 834"/>
                <a:gd name="T33" fmla="*/ 257899 h 386"/>
                <a:gd name="T34" fmla="*/ 16522 w 834"/>
                <a:gd name="T35" fmla="*/ 227247 h 386"/>
                <a:gd name="T36" fmla="*/ 16522 w 834"/>
                <a:gd name="T37" fmla="*/ 196595 h 386"/>
                <a:gd name="T38" fmla="*/ 50747 w 834"/>
                <a:gd name="T39" fmla="*/ 165943 h 386"/>
                <a:gd name="T40" fmla="*/ 101493 w 834"/>
                <a:gd name="T41" fmla="*/ 196595 h 386"/>
                <a:gd name="T42" fmla="*/ 151060 w 834"/>
                <a:gd name="T43" fmla="*/ 196595 h 386"/>
                <a:gd name="T44" fmla="*/ 201807 w 834"/>
                <a:gd name="T45" fmla="*/ 196595 h 386"/>
                <a:gd name="T46" fmla="*/ 254914 w 834"/>
                <a:gd name="T47" fmla="*/ 179684 h 386"/>
                <a:gd name="T48" fmla="*/ 304480 w 834"/>
                <a:gd name="T49" fmla="*/ 196595 h 386"/>
                <a:gd name="T50" fmla="*/ 374109 w 834"/>
                <a:gd name="T51" fmla="*/ 179684 h 386"/>
                <a:gd name="T52" fmla="*/ 410694 w 834"/>
                <a:gd name="T53" fmla="*/ 179684 h 386"/>
                <a:gd name="T54" fmla="*/ 457900 w 834"/>
                <a:gd name="T55" fmla="*/ 211393 h 386"/>
                <a:gd name="T56" fmla="*/ 476783 w 834"/>
                <a:gd name="T57" fmla="*/ 227247 h 386"/>
                <a:gd name="T58" fmla="*/ 492125 w 834"/>
                <a:gd name="T59" fmla="*/ 196595 h 386"/>
                <a:gd name="T60" fmla="*/ 476783 w 834"/>
                <a:gd name="T61" fmla="*/ 151146 h 386"/>
                <a:gd name="T62" fmla="*/ 457900 w 834"/>
                <a:gd name="T63" fmla="*/ 89842 h 386"/>
                <a:gd name="T64" fmla="*/ 542872 w 834"/>
                <a:gd name="T65" fmla="*/ 59190 h 386"/>
                <a:gd name="T66" fmla="*/ 577096 w 834"/>
                <a:gd name="T67" fmla="*/ 44392 h 386"/>
                <a:gd name="T68" fmla="*/ 611321 w 834"/>
                <a:gd name="T69" fmla="*/ 30652 h 386"/>
                <a:gd name="T70" fmla="*/ 698652 w 834"/>
                <a:gd name="T71" fmla="*/ 44392 h 386"/>
                <a:gd name="T72" fmla="*/ 713994 w 834"/>
                <a:gd name="T73" fmla="*/ 0 h 386"/>
                <a:gd name="T74" fmla="*/ 783624 w 834"/>
                <a:gd name="T75" fmla="*/ 0 h 386"/>
                <a:gd name="T76" fmla="*/ 833190 w 834"/>
                <a:gd name="T77" fmla="*/ 13741 h 386"/>
                <a:gd name="T78" fmla="*/ 902819 w 834"/>
                <a:gd name="T79" fmla="*/ 30652 h 386"/>
                <a:gd name="T80" fmla="*/ 937044 w 834"/>
                <a:gd name="T81" fmla="*/ 59190 h 386"/>
                <a:gd name="T82" fmla="*/ 984250 w 834"/>
                <a:gd name="T83" fmla="*/ 73987 h 386"/>
                <a:gd name="T84" fmla="*/ 971268 w 834"/>
                <a:gd name="T85" fmla="*/ 120494 h 386"/>
                <a:gd name="T86" fmla="*/ 971268 w 834"/>
                <a:gd name="T87" fmla="*/ 196595 h 386"/>
                <a:gd name="T88" fmla="*/ 952386 w 834"/>
                <a:gd name="T89" fmla="*/ 196595 h 386"/>
                <a:gd name="T90" fmla="*/ 918161 w 834"/>
                <a:gd name="T91" fmla="*/ 211393 h 386"/>
                <a:gd name="T92" fmla="*/ 937044 w 834"/>
                <a:gd name="T93" fmla="*/ 257899 h 386"/>
                <a:gd name="T94" fmla="*/ 902819 w 834"/>
                <a:gd name="T95" fmla="*/ 317089 h 386"/>
                <a:gd name="T96" fmla="*/ 867415 w 834"/>
                <a:gd name="T97" fmla="*/ 362539 h 386"/>
                <a:gd name="T98" fmla="*/ 867415 w 834"/>
                <a:gd name="T99" fmla="*/ 347741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34" h="386">
                  <a:moveTo>
                    <a:pt x="735" y="329"/>
                  </a:moveTo>
                  <a:lnTo>
                    <a:pt x="735" y="343"/>
                  </a:lnTo>
                  <a:lnTo>
                    <a:pt x="722" y="343"/>
                  </a:lnTo>
                  <a:lnTo>
                    <a:pt x="722" y="359"/>
                  </a:lnTo>
                  <a:lnTo>
                    <a:pt x="706" y="359"/>
                  </a:lnTo>
                  <a:lnTo>
                    <a:pt x="706" y="343"/>
                  </a:lnTo>
                  <a:lnTo>
                    <a:pt x="693" y="343"/>
                  </a:lnTo>
                  <a:lnTo>
                    <a:pt x="677" y="343"/>
                  </a:lnTo>
                  <a:lnTo>
                    <a:pt x="664" y="343"/>
                  </a:lnTo>
                  <a:lnTo>
                    <a:pt x="648" y="343"/>
                  </a:lnTo>
                  <a:lnTo>
                    <a:pt x="635" y="343"/>
                  </a:lnTo>
                  <a:lnTo>
                    <a:pt x="619" y="343"/>
                  </a:lnTo>
                  <a:lnTo>
                    <a:pt x="605" y="343"/>
                  </a:lnTo>
                  <a:lnTo>
                    <a:pt x="605" y="359"/>
                  </a:lnTo>
                  <a:lnTo>
                    <a:pt x="592" y="372"/>
                  </a:lnTo>
                  <a:lnTo>
                    <a:pt x="576" y="372"/>
                  </a:lnTo>
                  <a:lnTo>
                    <a:pt x="561" y="372"/>
                  </a:lnTo>
                  <a:lnTo>
                    <a:pt x="547" y="386"/>
                  </a:lnTo>
                  <a:lnTo>
                    <a:pt x="534" y="386"/>
                  </a:lnTo>
                  <a:lnTo>
                    <a:pt x="518" y="372"/>
                  </a:lnTo>
                  <a:lnTo>
                    <a:pt x="505" y="372"/>
                  </a:lnTo>
                  <a:lnTo>
                    <a:pt x="489" y="372"/>
                  </a:lnTo>
                  <a:lnTo>
                    <a:pt x="476" y="359"/>
                  </a:lnTo>
                  <a:lnTo>
                    <a:pt x="476" y="372"/>
                  </a:lnTo>
                  <a:lnTo>
                    <a:pt x="446" y="359"/>
                  </a:lnTo>
                  <a:lnTo>
                    <a:pt x="433" y="359"/>
                  </a:lnTo>
                  <a:lnTo>
                    <a:pt x="417" y="343"/>
                  </a:lnTo>
                  <a:lnTo>
                    <a:pt x="388" y="343"/>
                  </a:lnTo>
                  <a:lnTo>
                    <a:pt x="375" y="343"/>
                  </a:lnTo>
                  <a:lnTo>
                    <a:pt x="361" y="343"/>
                  </a:lnTo>
                  <a:lnTo>
                    <a:pt x="348" y="343"/>
                  </a:lnTo>
                  <a:lnTo>
                    <a:pt x="332" y="329"/>
                  </a:lnTo>
                  <a:lnTo>
                    <a:pt x="317" y="314"/>
                  </a:lnTo>
                  <a:lnTo>
                    <a:pt x="317" y="300"/>
                  </a:lnTo>
                  <a:lnTo>
                    <a:pt x="303" y="287"/>
                  </a:lnTo>
                  <a:lnTo>
                    <a:pt x="287" y="271"/>
                  </a:lnTo>
                  <a:lnTo>
                    <a:pt x="258" y="271"/>
                  </a:lnTo>
                  <a:lnTo>
                    <a:pt x="245" y="271"/>
                  </a:lnTo>
                  <a:lnTo>
                    <a:pt x="231" y="271"/>
                  </a:lnTo>
                  <a:lnTo>
                    <a:pt x="216" y="271"/>
                  </a:lnTo>
                  <a:lnTo>
                    <a:pt x="200" y="258"/>
                  </a:lnTo>
                  <a:lnTo>
                    <a:pt x="187" y="258"/>
                  </a:lnTo>
                  <a:lnTo>
                    <a:pt x="187" y="271"/>
                  </a:lnTo>
                  <a:lnTo>
                    <a:pt x="159" y="287"/>
                  </a:lnTo>
                  <a:lnTo>
                    <a:pt x="144" y="287"/>
                  </a:lnTo>
                  <a:lnTo>
                    <a:pt x="128" y="287"/>
                  </a:lnTo>
                  <a:lnTo>
                    <a:pt x="128" y="271"/>
                  </a:lnTo>
                  <a:lnTo>
                    <a:pt x="128" y="258"/>
                  </a:lnTo>
                  <a:lnTo>
                    <a:pt x="115" y="258"/>
                  </a:lnTo>
                  <a:lnTo>
                    <a:pt x="59" y="258"/>
                  </a:lnTo>
                  <a:lnTo>
                    <a:pt x="43" y="244"/>
                  </a:lnTo>
                  <a:lnTo>
                    <a:pt x="29" y="229"/>
                  </a:lnTo>
                  <a:lnTo>
                    <a:pt x="14" y="229"/>
                  </a:lnTo>
                  <a:lnTo>
                    <a:pt x="14" y="215"/>
                  </a:lnTo>
                  <a:lnTo>
                    <a:pt x="0" y="215"/>
                  </a:lnTo>
                  <a:lnTo>
                    <a:pt x="0" y="200"/>
                  </a:lnTo>
                  <a:lnTo>
                    <a:pt x="14" y="186"/>
                  </a:lnTo>
                  <a:lnTo>
                    <a:pt x="14" y="170"/>
                  </a:lnTo>
                  <a:lnTo>
                    <a:pt x="29" y="157"/>
                  </a:lnTo>
                  <a:lnTo>
                    <a:pt x="43" y="157"/>
                  </a:lnTo>
                  <a:lnTo>
                    <a:pt x="59" y="170"/>
                  </a:lnTo>
                  <a:lnTo>
                    <a:pt x="72" y="186"/>
                  </a:lnTo>
                  <a:lnTo>
                    <a:pt x="86" y="186"/>
                  </a:lnTo>
                  <a:lnTo>
                    <a:pt x="99" y="200"/>
                  </a:lnTo>
                  <a:lnTo>
                    <a:pt x="115" y="186"/>
                  </a:lnTo>
                  <a:lnTo>
                    <a:pt x="128" y="186"/>
                  </a:lnTo>
                  <a:lnTo>
                    <a:pt x="144" y="157"/>
                  </a:lnTo>
                  <a:lnTo>
                    <a:pt x="171" y="170"/>
                  </a:lnTo>
                  <a:lnTo>
                    <a:pt x="171" y="186"/>
                  </a:lnTo>
                  <a:lnTo>
                    <a:pt x="187" y="186"/>
                  </a:lnTo>
                  <a:lnTo>
                    <a:pt x="200" y="186"/>
                  </a:lnTo>
                  <a:lnTo>
                    <a:pt x="216" y="170"/>
                  </a:lnTo>
                  <a:lnTo>
                    <a:pt x="231" y="186"/>
                  </a:lnTo>
                  <a:lnTo>
                    <a:pt x="245" y="186"/>
                  </a:lnTo>
                  <a:lnTo>
                    <a:pt x="258" y="186"/>
                  </a:lnTo>
                  <a:lnTo>
                    <a:pt x="274" y="170"/>
                  </a:lnTo>
                  <a:lnTo>
                    <a:pt x="287" y="170"/>
                  </a:lnTo>
                  <a:lnTo>
                    <a:pt x="317" y="170"/>
                  </a:lnTo>
                  <a:lnTo>
                    <a:pt x="332" y="170"/>
                  </a:lnTo>
                  <a:lnTo>
                    <a:pt x="348" y="186"/>
                  </a:lnTo>
                  <a:lnTo>
                    <a:pt x="348" y="170"/>
                  </a:lnTo>
                  <a:lnTo>
                    <a:pt x="361" y="170"/>
                  </a:lnTo>
                  <a:lnTo>
                    <a:pt x="388" y="186"/>
                  </a:lnTo>
                  <a:lnTo>
                    <a:pt x="388" y="200"/>
                  </a:lnTo>
                  <a:lnTo>
                    <a:pt x="388" y="215"/>
                  </a:lnTo>
                  <a:lnTo>
                    <a:pt x="404" y="229"/>
                  </a:lnTo>
                  <a:lnTo>
                    <a:pt x="404" y="215"/>
                  </a:lnTo>
                  <a:lnTo>
                    <a:pt x="417" y="215"/>
                  </a:lnTo>
                  <a:lnTo>
                    <a:pt x="417" y="200"/>
                  </a:lnTo>
                  <a:lnTo>
                    <a:pt x="417" y="186"/>
                  </a:lnTo>
                  <a:lnTo>
                    <a:pt x="404" y="170"/>
                  </a:lnTo>
                  <a:lnTo>
                    <a:pt x="404" y="157"/>
                  </a:lnTo>
                  <a:lnTo>
                    <a:pt x="404" y="143"/>
                  </a:lnTo>
                  <a:lnTo>
                    <a:pt x="388" y="128"/>
                  </a:lnTo>
                  <a:lnTo>
                    <a:pt x="388" y="114"/>
                  </a:lnTo>
                  <a:lnTo>
                    <a:pt x="388" y="85"/>
                  </a:lnTo>
                  <a:lnTo>
                    <a:pt x="433" y="85"/>
                  </a:lnTo>
                  <a:lnTo>
                    <a:pt x="446" y="70"/>
                  </a:lnTo>
                  <a:lnTo>
                    <a:pt x="460" y="56"/>
                  </a:lnTo>
                  <a:lnTo>
                    <a:pt x="460" y="42"/>
                  </a:lnTo>
                  <a:lnTo>
                    <a:pt x="476" y="42"/>
                  </a:lnTo>
                  <a:lnTo>
                    <a:pt x="489" y="42"/>
                  </a:lnTo>
                  <a:lnTo>
                    <a:pt x="505" y="42"/>
                  </a:lnTo>
                  <a:lnTo>
                    <a:pt x="505" y="29"/>
                  </a:lnTo>
                  <a:lnTo>
                    <a:pt x="518" y="29"/>
                  </a:lnTo>
                  <a:lnTo>
                    <a:pt x="534" y="42"/>
                  </a:lnTo>
                  <a:lnTo>
                    <a:pt x="561" y="42"/>
                  </a:lnTo>
                  <a:lnTo>
                    <a:pt x="592" y="42"/>
                  </a:lnTo>
                  <a:lnTo>
                    <a:pt x="605" y="29"/>
                  </a:lnTo>
                  <a:lnTo>
                    <a:pt x="605" y="13"/>
                  </a:lnTo>
                  <a:lnTo>
                    <a:pt x="605" y="0"/>
                  </a:lnTo>
                  <a:lnTo>
                    <a:pt x="619" y="0"/>
                  </a:lnTo>
                  <a:lnTo>
                    <a:pt x="648" y="0"/>
                  </a:lnTo>
                  <a:lnTo>
                    <a:pt x="664" y="0"/>
                  </a:lnTo>
                  <a:lnTo>
                    <a:pt x="677" y="0"/>
                  </a:lnTo>
                  <a:lnTo>
                    <a:pt x="693" y="13"/>
                  </a:lnTo>
                  <a:lnTo>
                    <a:pt x="706" y="13"/>
                  </a:lnTo>
                  <a:lnTo>
                    <a:pt x="735" y="13"/>
                  </a:lnTo>
                  <a:lnTo>
                    <a:pt x="751" y="29"/>
                  </a:lnTo>
                  <a:lnTo>
                    <a:pt x="765" y="29"/>
                  </a:lnTo>
                  <a:lnTo>
                    <a:pt x="765" y="42"/>
                  </a:lnTo>
                  <a:lnTo>
                    <a:pt x="778" y="56"/>
                  </a:lnTo>
                  <a:lnTo>
                    <a:pt x="794" y="56"/>
                  </a:lnTo>
                  <a:lnTo>
                    <a:pt x="807" y="56"/>
                  </a:lnTo>
                  <a:lnTo>
                    <a:pt x="823" y="56"/>
                  </a:lnTo>
                  <a:lnTo>
                    <a:pt x="834" y="70"/>
                  </a:lnTo>
                  <a:lnTo>
                    <a:pt x="823" y="85"/>
                  </a:lnTo>
                  <a:lnTo>
                    <a:pt x="834" y="114"/>
                  </a:lnTo>
                  <a:lnTo>
                    <a:pt x="823" y="114"/>
                  </a:lnTo>
                  <a:lnTo>
                    <a:pt x="834" y="143"/>
                  </a:lnTo>
                  <a:lnTo>
                    <a:pt x="834" y="170"/>
                  </a:lnTo>
                  <a:lnTo>
                    <a:pt x="823" y="186"/>
                  </a:lnTo>
                  <a:lnTo>
                    <a:pt x="823" y="200"/>
                  </a:lnTo>
                  <a:lnTo>
                    <a:pt x="807" y="200"/>
                  </a:lnTo>
                  <a:lnTo>
                    <a:pt x="807" y="186"/>
                  </a:lnTo>
                  <a:lnTo>
                    <a:pt x="794" y="186"/>
                  </a:lnTo>
                  <a:lnTo>
                    <a:pt x="778" y="186"/>
                  </a:lnTo>
                  <a:lnTo>
                    <a:pt x="778" y="200"/>
                  </a:lnTo>
                  <a:lnTo>
                    <a:pt x="794" y="215"/>
                  </a:lnTo>
                  <a:lnTo>
                    <a:pt x="794" y="229"/>
                  </a:lnTo>
                  <a:lnTo>
                    <a:pt x="794" y="244"/>
                  </a:lnTo>
                  <a:lnTo>
                    <a:pt x="778" y="244"/>
                  </a:lnTo>
                  <a:lnTo>
                    <a:pt x="778" y="271"/>
                  </a:lnTo>
                  <a:lnTo>
                    <a:pt x="765" y="300"/>
                  </a:lnTo>
                  <a:lnTo>
                    <a:pt x="751" y="300"/>
                  </a:lnTo>
                  <a:lnTo>
                    <a:pt x="735" y="329"/>
                  </a:lnTo>
                  <a:lnTo>
                    <a:pt x="735" y="343"/>
                  </a:lnTo>
                  <a:lnTo>
                    <a:pt x="735" y="329"/>
                  </a:lnTo>
                  <a:close/>
                </a:path>
              </a:pathLst>
            </a:custGeom>
            <a:grpFill/>
            <a:ln w="3175" cmpd="sng">
              <a:solidFill>
                <a:schemeClr val="bg1"/>
              </a:solidFill>
              <a:round/>
              <a:headEnd/>
              <a:tailEnd/>
            </a:ln>
          </p:spPr>
          <p:txBody>
            <a:bodyPr/>
            <a:lstStyle/>
            <a:p>
              <a:endParaRPr lang="da-DK"/>
            </a:p>
          </p:txBody>
        </p:sp>
        <p:sp>
          <p:nvSpPr>
            <p:cNvPr id="97" name="Freeform 1138">
              <a:extLst>
                <a:ext uri="{FF2B5EF4-FFF2-40B4-BE49-F238E27FC236}">
                  <a16:creationId xmlns:a16="http://schemas.microsoft.com/office/drawing/2014/main" id="{3DC40CB0-CFAC-C39B-C0A7-246B92747B52}"/>
                </a:ext>
              </a:extLst>
            </p:cNvPr>
            <p:cNvSpPr>
              <a:spLocks/>
            </p:cNvSpPr>
            <p:nvPr>
              <p:custDataLst>
                <p:tags r:id="rId76"/>
              </p:custDataLst>
            </p:nvPr>
          </p:nvSpPr>
          <p:spPr bwMode="auto">
            <a:xfrm>
              <a:off x="4067533" y="3648531"/>
              <a:ext cx="359767" cy="340678"/>
            </a:xfrm>
            <a:custGeom>
              <a:avLst/>
              <a:gdLst>
                <a:gd name="T0" fmla="*/ 354964 w 332"/>
                <a:gd name="T1" fmla="*/ 61917 h 345"/>
                <a:gd name="T2" fmla="*/ 320990 w 332"/>
                <a:gd name="T3" fmla="*/ 30959 h 345"/>
                <a:gd name="T4" fmla="*/ 289360 w 332"/>
                <a:gd name="T5" fmla="*/ 44837 h 345"/>
                <a:gd name="T6" fmla="*/ 270616 w 332"/>
                <a:gd name="T7" fmla="*/ 30959 h 345"/>
                <a:gd name="T8" fmla="*/ 205012 w 332"/>
                <a:gd name="T9" fmla="*/ 13878 h 345"/>
                <a:gd name="T10" fmla="*/ 186268 w 332"/>
                <a:gd name="T11" fmla="*/ 44837 h 345"/>
                <a:gd name="T12" fmla="*/ 134722 w 332"/>
                <a:gd name="T13" fmla="*/ 44837 h 345"/>
                <a:gd name="T14" fmla="*/ 118321 w 332"/>
                <a:gd name="T15" fmla="*/ 30959 h 345"/>
                <a:gd name="T16" fmla="*/ 84348 w 332"/>
                <a:gd name="T17" fmla="*/ 13878 h 345"/>
                <a:gd name="T18" fmla="*/ 65604 w 332"/>
                <a:gd name="T19" fmla="*/ 0 h 345"/>
                <a:gd name="T20" fmla="*/ 31630 w 332"/>
                <a:gd name="T21" fmla="*/ 0 h 345"/>
                <a:gd name="T22" fmla="*/ 0 w 332"/>
                <a:gd name="T23" fmla="*/ 30959 h 345"/>
                <a:gd name="T24" fmla="*/ 0 w 332"/>
                <a:gd name="T25" fmla="*/ 61917 h 345"/>
                <a:gd name="T26" fmla="*/ 18744 w 332"/>
                <a:gd name="T27" fmla="*/ 90741 h 345"/>
                <a:gd name="T28" fmla="*/ 31630 w 332"/>
                <a:gd name="T29" fmla="*/ 107821 h 345"/>
                <a:gd name="T30" fmla="*/ 50374 w 332"/>
                <a:gd name="T31" fmla="*/ 121699 h 345"/>
                <a:gd name="T32" fmla="*/ 65604 w 332"/>
                <a:gd name="T33" fmla="*/ 136645 h 345"/>
                <a:gd name="T34" fmla="*/ 84348 w 332"/>
                <a:gd name="T35" fmla="*/ 152658 h 345"/>
                <a:gd name="T36" fmla="*/ 118321 w 332"/>
                <a:gd name="T37" fmla="*/ 181481 h 345"/>
                <a:gd name="T38" fmla="*/ 149952 w 332"/>
                <a:gd name="T39" fmla="*/ 181481 h 345"/>
                <a:gd name="T40" fmla="*/ 149952 w 332"/>
                <a:gd name="T41" fmla="*/ 229520 h 345"/>
                <a:gd name="T42" fmla="*/ 149952 w 332"/>
                <a:gd name="T43" fmla="*/ 260479 h 345"/>
                <a:gd name="T44" fmla="*/ 186268 w 332"/>
                <a:gd name="T45" fmla="*/ 260479 h 345"/>
                <a:gd name="T46" fmla="*/ 205012 w 332"/>
                <a:gd name="T47" fmla="*/ 244466 h 345"/>
                <a:gd name="T48" fmla="*/ 220241 w 332"/>
                <a:gd name="T49" fmla="*/ 275424 h 345"/>
                <a:gd name="T50" fmla="*/ 236642 w 332"/>
                <a:gd name="T51" fmla="*/ 306383 h 345"/>
                <a:gd name="T52" fmla="*/ 253043 w 332"/>
                <a:gd name="T53" fmla="*/ 320261 h 345"/>
                <a:gd name="T54" fmla="*/ 289360 w 332"/>
                <a:gd name="T55" fmla="*/ 351219 h 345"/>
                <a:gd name="T56" fmla="*/ 304589 w 332"/>
                <a:gd name="T57" fmla="*/ 351219 h 345"/>
                <a:gd name="T58" fmla="*/ 325676 w 332"/>
                <a:gd name="T59" fmla="*/ 349084 h 345"/>
                <a:gd name="T60" fmla="*/ 325676 w 332"/>
                <a:gd name="T61" fmla="*/ 306383 h 345"/>
                <a:gd name="T62" fmla="*/ 325676 w 332"/>
                <a:gd name="T63" fmla="*/ 275424 h 345"/>
                <a:gd name="T64" fmla="*/ 357307 w 332"/>
                <a:gd name="T65" fmla="*/ 244466 h 345"/>
                <a:gd name="T66" fmla="*/ 370193 w 332"/>
                <a:gd name="T67" fmla="*/ 229520 h 345"/>
                <a:gd name="T68" fmla="*/ 388937 w 332"/>
                <a:gd name="T69" fmla="*/ 212440 h 345"/>
                <a:gd name="T70" fmla="*/ 388937 w 332"/>
                <a:gd name="T71" fmla="*/ 181481 h 345"/>
                <a:gd name="T72" fmla="*/ 388937 w 332"/>
                <a:gd name="T73" fmla="*/ 152658 h 345"/>
                <a:gd name="T74" fmla="*/ 388937 w 332"/>
                <a:gd name="T75" fmla="*/ 121699 h 345"/>
                <a:gd name="T76" fmla="*/ 388937 w 332"/>
                <a:gd name="T77" fmla="*/ 90741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2" h="345">
                  <a:moveTo>
                    <a:pt x="332" y="85"/>
                  </a:moveTo>
                  <a:lnTo>
                    <a:pt x="303" y="58"/>
                  </a:lnTo>
                  <a:lnTo>
                    <a:pt x="289" y="42"/>
                  </a:lnTo>
                  <a:lnTo>
                    <a:pt x="274" y="29"/>
                  </a:lnTo>
                  <a:lnTo>
                    <a:pt x="260" y="29"/>
                  </a:lnTo>
                  <a:lnTo>
                    <a:pt x="247" y="42"/>
                  </a:lnTo>
                  <a:lnTo>
                    <a:pt x="231" y="42"/>
                  </a:lnTo>
                  <a:lnTo>
                    <a:pt x="231" y="29"/>
                  </a:lnTo>
                  <a:lnTo>
                    <a:pt x="188" y="13"/>
                  </a:lnTo>
                  <a:lnTo>
                    <a:pt x="175" y="13"/>
                  </a:lnTo>
                  <a:lnTo>
                    <a:pt x="159" y="29"/>
                  </a:lnTo>
                  <a:lnTo>
                    <a:pt x="159" y="42"/>
                  </a:lnTo>
                  <a:lnTo>
                    <a:pt x="128" y="42"/>
                  </a:lnTo>
                  <a:lnTo>
                    <a:pt x="115" y="42"/>
                  </a:lnTo>
                  <a:lnTo>
                    <a:pt x="101" y="42"/>
                  </a:lnTo>
                  <a:lnTo>
                    <a:pt x="101" y="29"/>
                  </a:lnTo>
                  <a:lnTo>
                    <a:pt x="88" y="13"/>
                  </a:lnTo>
                  <a:lnTo>
                    <a:pt x="72" y="13"/>
                  </a:lnTo>
                  <a:lnTo>
                    <a:pt x="72" y="0"/>
                  </a:lnTo>
                  <a:lnTo>
                    <a:pt x="56" y="0"/>
                  </a:lnTo>
                  <a:lnTo>
                    <a:pt x="43" y="13"/>
                  </a:lnTo>
                  <a:lnTo>
                    <a:pt x="27" y="0"/>
                  </a:lnTo>
                  <a:lnTo>
                    <a:pt x="27" y="13"/>
                  </a:lnTo>
                  <a:lnTo>
                    <a:pt x="0" y="29"/>
                  </a:lnTo>
                  <a:lnTo>
                    <a:pt x="0" y="42"/>
                  </a:lnTo>
                  <a:lnTo>
                    <a:pt x="0" y="58"/>
                  </a:lnTo>
                  <a:lnTo>
                    <a:pt x="0" y="71"/>
                  </a:lnTo>
                  <a:lnTo>
                    <a:pt x="16" y="85"/>
                  </a:lnTo>
                  <a:lnTo>
                    <a:pt x="16" y="101"/>
                  </a:lnTo>
                  <a:lnTo>
                    <a:pt x="27" y="101"/>
                  </a:lnTo>
                  <a:lnTo>
                    <a:pt x="43" y="101"/>
                  </a:lnTo>
                  <a:lnTo>
                    <a:pt x="43" y="114"/>
                  </a:lnTo>
                  <a:lnTo>
                    <a:pt x="43" y="128"/>
                  </a:lnTo>
                  <a:lnTo>
                    <a:pt x="56" y="128"/>
                  </a:lnTo>
                  <a:lnTo>
                    <a:pt x="72" y="128"/>
                  </a:lnTo>
                  <a:lnTo>
                    <a:pt x="72" y="143"/>
                  </a:lnTo>
                  <a:lnTo>
                    <a:pt x="88" y="170"/>
                  </a:lnTo>
                  <a:lnTo>
                    <a:pt x="101" y="170"/>
                  </a:lnTo>
                  <a:lnTo>
                    <a:pt x="115" y="170"/>
                  </a:lnTo>
                  <a:lnTo>
                    <a:pt x="128" y="170"/>
                  </a:lnTo>
                  <a:lnTo>
                    <a:pt x="128" y="199"/>
                  </a:lnTo>
                  <a:lnTo>
                    <a:pt x="128" y="215"/>
                  </a:lnTo>
                  <a:lnTo>
                    <a:pt x="115" y="229"/>
                  </a:lnTo>
                  <a:lnTo>
                    <a:pt x="128" y="244"/>
                  </a:lnTo>
                  <a:lnTo>
                    <a:pt x="144" y="244"/>
                  </a:lnTo>
                  <a:lnTo>
                    <a:pt x="159" y="244"/>
                  </a:lnTo>
                  <a:lnTo>
                    <a:pt x="159" y="229"/>
                  </a:lnTo>
                  <a:lnTo>
                    <a:pt x="175" y="229"/>
                  </a:lnTo>
                  <a:lnTo>
                    <a:pt x="175" y="244"/>
                  </a:lnTo>
                  <a:lnTo>
                    <a:pt x="188" y="258"/>
                  </a:lnTo>
                  <a:lnTo>
                    <a:pt x="188" y="273"/>
                  </a:lnTo>
                  <a:lnTo>
                    <a:pt x="202" y="287"/>
                  </a:lnTo>
                  <a:lnTo>
                    <a:pt x="202" y="300"/>
                  </a:lnTo>
                  <a:lnTo>
                    <a:pt x="216" y="300"/>
                  </a:lnTo>
                  <a:lnTo>
                    <a:pt x="231" y="316"/>
                  </a:lnTo>
                  <a:lnTo>
                    <a:pt x="247" y="329"/>
                  </a:lnTo>
                  <a:lnTo>
                    <a:pt x="247" y="345"/>
                  </a:lnTo>
                  <a:lnTo>
                    <a:pt x="260" y="329"/>
                  </a:lnTo>
                  <a:lnTo>
                    <a:pt x="274" y="329"/>
                  </a:lnTo>
                  <a:lnTo>
                    <a:pt x="278" y="327"/>
                  </a:lnTo>
                  <a:lnTo>
                    <a:pt x="283" y="302"/>
                  </a:lnTo>
                  <a:lnTo>
                    <a:pt x="278" y="287"/>
                  </a:lnTo>
                  <a:lnTo>
                    <a:pt x="278" y="273"/>
                  </a:lnTo>
                  <a:lnTo>
                    <a:pt x="278" y="258"/>
                  </a:lnTo>
                  <a:lnTo>
                    <a:pt x="291" y="244"/>
                  </a:lnTo>
                  <a:lnTo>
                    <a:pt x="305" y="229"/>
                  </a:lnTo>
                  <a:lnTo>
                    <a:pt x="316" y="229"/>
                  </a:lnTo>
                  <a:lnTo>
                    <a:pt x="316" y="215"/>
                  </a:lnTo>
                  <a:lnTo>
                    <a:pt x="316" y="199"/>
                  </a:lnTo>
                  <a:lnTo>
                    <a:pt x="332" y="199"/>
                  </a:lnTo>
                  <a:lnTo>
                    <a:pt x="332" y="186"/>
                  </a:lnTo>
                  <a:lnTo>
                    <a:pt x="332" y="170"/>
                  </a:lnTo>
                  <a:lnTo>
                    <a:pt x="316" y="170"/>
                  </a:lnTo>
                  <a:lnTo>
                    <a:pt x="332" y="143"/>
                  </a:lnTo>
                  <a:lnTo>
                    <a:pt x="332" y="128"/>
                  </a:lnTo>
                  <a:lnTo>
                    <a:pt x="332" y="114"/>
                  </a:lnTo>
                  <a:lnTo>
                    <a:pt x="332" y="101"/>
                  </a:lnTo>
                  <a:lnTo>
                    <a:pt x="332" y="85"/>
                  </a:lnTo>
                  <a:close/>
                </a:path>
              </a:pathLst>
            </a:custGeom>
            <a:grpFill/>
            <a:ln w="3175" cmpd="sng">
              <a:solidFill>
                <a:schemeClr val="bg1"/>
              </a:solidFill>
              <a:round/>
              <a:headEnd/>
              <a:tailEnd/>
            </a:ln>
          </p:spPr>
          <p:txBody>
            <a:bodyPr/>
            <a:lstStyle/>
            <a:p>
              <a:endParaRPr lang="da-DK"/>
            </a:p>
          </p:txBody>
        </p:sp>
        <p:sp>
          <p:nvSpPr>
            <p:cNvPr id="98" name="Freeform 1139">
              <a:extLst>
                <a:ext uri="{FF2B5EF4-FFF2-40B4-BE49-F238E27FC236}">
                  <a16:creationId xmlns:a16="http://schemas.microsoft.com/office/drawing/2014/main" id="{396F7CC2-30FD-F1DF-5921-523A2C7729F9}"/>
                </a:ext>
              </a:extLst>
            </p:cNvPr>
            <p:cNvSpPr>
              <a:spLocks/>
            </p:cNvSpPr>
            <p:nvPr>
              <p:custDataLst>
                <p:tags r:id="rId77"/>
              </p:custDataLst>
            </p:nvPr>
          </p:nvSpPr>
          <p:spPr bwMode="auto">
            <a:xfrm>
              <a:off x="4243746" y="3398897"/>
              <a:ext cx="424378" cy="355362"/>
            </a:xfrm>
            <a:custGeom>
              <a:avLst/>
              <a:gdLst>
                <a:gd name="T0" fmla="*/ 407026 w 390"/>
                <a:gd name="T1" fmla="*/ 59927 h 359"/>
                <a:gd name="T2" fmla="*/ 390557 w 390"/>
                <a:gd name="T3" fmla="*/ 0 h 359"/>
                <a:gd name="T4" fmla="*/ 358795 w 390"/>
                <a:gd name="T5" fmla="*/ 13912 h 359"/>
                <a:gd name="T6" fmla="*/ 324680 w 390"/>
                <a:gd name="T7" fmla="*/ 13912 h 359"/>
                <a:gd name="T8" fmla="*/ 305858 w 390"/>
                <a:gd name="T9" fmla="*/ 13912 h 359"/>
                <a:gd name="T10" fmla="*/ 271743 w 390"/>
                <a:gd name="T11" fmla="*/ 13912 h 359"/>
                <a:gd name="T12" fmla="*/ 219982 w 390"/>
                <a:gd name="T13" fmla="*/ 47086 h 359"/>
                <a:gd name="T14" fmla="*/ 219982 w 390"/>
                <a:gd name="T15" fmla="*/ 77049 h 359"/>
                <a:gd name="T16" fmla="*/ 219982 w 390"/>
                <a:gd name="T17" fmla="*/ 108083 h 359"/>
                <a:gd name="T18" fmla="*/ 184691 w 390"/>
                <a:gd name="T19" fmla="*/ 168010 h 359"/>
                <a:gd name="T20" fmla="*/ 152929 w 390"/>
                <a:gd name="T21" fmla="*/ 168010 h 359"/>
                <a:gd name="T22" fmla="*/ 169398 w 390"/>
                <a:gd name="T23" fmla="*/ 121994 h 359"/>
                <a:gd name="T24" fmla="*/ 169398 w 390"/>
                <a:gd name="T25" fmla="*/ 108083 h 359"/>
                <a:gd name="T26" fmla="*/ 184691 w 390"/>
                <a:gd name="T27" fmla="*/ 77049 h 359"/>
                <a:gd name="T28" fmla="*/ 135283 w 390"/>
                <a:gd name="T29" fmla="*/ 59927 h 359"/>
                <a:gd name="T30" fmla="*/ 135283 w 390"/>
                <a:gd name="T31" fmla="*/ 59927 h 359"/>
                <a:gd name="T32" fmla="*/ 118814 w 390"/>
                <a:gd name="T33" fmla="*/ 121994 h 359"/>
                <a:gd name="T34" fmla="*/ 101168 w 390"/>
                <a:gd name="T35" fmla="*/ 153028 h 359"/>
                <a:gd name="T36" fmla="*/ 84699 w 390"/>
                <a:gd name="T37" fmla="*/ 168010 h 359"/>
                <a:gd name="T38" fmla="*/ 34115 w 390"/>
                <a:gd name="T39" fmla="*/ 184062 h 359"/>
                <a:gd name="T40" fmla="*/ 50584 w 390"/>
                <a:gd name="T41" fmla="*/ 216165 h 359"/>
                <a:gd name="T42" fmla="*/ 18822 w 390"/>
                <a:gd name="T43" fmla="*/ 245059 h 359"/>
                <a:gd name="T44" fmla="*/ 0 w 390"/>
                <a:gd name="T45" fmla="*/ 216165 h 359"/>
                <a:gd name="T46" fmla="*/ 0 w 390"/>
                <a:gd name="T47" fmla="*/ 245059 h 359"/>
                <a:gd name="T48" fmla="*/ 18822 w 390"/>
                <a:gd name="T49" fmla="*/ 276092 h 359"/>
                <a:gd name="T50" fmla="*/ 84699 w 390"/>
                <a:gd name="T51" fmla="*/ 307126 h 359"/>
                <a:gd name="T52" fmla="*/ 101168 w 390"/>
                <a:gd name="T53" fmla="*/ 321038 h 359"/>
                <a:gd name="T54" fmla="*/ 135283 w 390"/>
                <a:gd name="T55" fmla="*/ 307126 h 359"/>
                <a:gd name="T56" fmla="*/ 169398 w 390"/>
                <a:gd name="T57" fmla="*/ 338160 h 359"/>
                <a:gd name="T58" fmla="*/ 203513 w 390"/>
                <a:gd name="T59" fmla="*/ 384175 h 359"/>
                <a:gd name="T60" fmla="*/ 237628 w 390"/>
                <a:gd name="T61" fmla="*/ 352071 h 359"/>
                <a:gd name="T62" fmla="*/ 237628 w 390"/>
                <a:gd name="T63" fmla="*/ 307126 h 359"/>
                <a:gd name="T64" fmla="*/ 271743 w 390"/>
                <a:gd name="T65" fmla="*/ 276092 h 359"/>
                <a:gd name="T66" fmla="*/ 339973 w 390"/>
                <a:gd name="T67" fmla="*/ 276092 h 359"/>
                <a:gd name="T68" fmla="*/ 374088 w 390"/>
                <a:gd name="T69" fmla="*/ 276092 h 359"/>
                <a:gd name="T70" fmla="*/ 407026 w 390"/>
                <a:gd name="T71" fmla="*/ 276092 h 359"/>
                <a:gd name="T72" fmla="*/ 422319 w 390"/>
                <a:gd name="T73" fmla="*/ 216165 h 359"/>
                <a:gd name="T74" fmla="*/ 422319 w 390"/>
                <a:gd name="T75" fmla="*/ 184062 h 359"/>
                <a:gd name="T76" fmla="*/ 422319 w 390"/>
                <a:gd name="T77" fmla="*/ 139116 h 359"/>
                <a:gd name="T78" fmla="*/ 441141 w 390"/>
                <a:gd name="T79" fmla="*/ 121994 h 359"/>
                <a:gd name="T80" fmla="*/ 441141 w 390"/>
                <a:gd name="T81" fmla="*/ 90961 h 359"/>
                <a:gd name="T82" fmla="*/ 458787 w 390"/>
                <a:gd name="T83" fmla="*/ 59927 h 359"/>
                <a:gd name="T84" fmla="*/ 422319 w 390"/>
                <a:gd name="T85" fmla="*/ 59927 h 3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59">
                  <a:moveTo>
                    <a:pt x="359" y="56"/>
                  </a:moveTo>
                  <a:lnTo>
                    <a:pt x="346" y="56"/>
                  </a:lnTo>
                  <a:lnTo>
                    <a:pt x="346" y="0"/>
                  </a:lnTo>
                  <a:lnTo>
                    <a:pt x="332" y="0"/>
                  </a:lnTo>
                  <a:lnTo>
                    <a:pt x="318" y="0"/>
                  </a:lnTo>
                  <a:lnTo>
                    <a:pt x="305" y="13"/>
                  </a:lnTo>
                  <a:lnTo>
                    <a:pt x="276" y="29"/>
                  </a:lnTo>
                  <a:lnTo>
                    <a:pt x="276" y="13"/>
                  </a:lnTo>
                  <a:lnTo>
                    <a:pt x="276" y="0"/>
                  </a:lnTo>
                  <a:lnTo>
                    <a:pt x="260" y="13"/>
                  </a:lnTo>
                  <a:lnTo>
                    <a:pt x="245" y="13"/>
                  </a:lnTo>
                  <a:lnTo>
                    <a:pt x="231" y="13"/>
                  </a:lnTo>
                  <a:lnTo>
                    <a:pt x="202" y="29"/>
                  </a:lnTo>
                  <a:lnTo>
                    <a:pt x="187" y="44"/>
                  </a:lnTo>
                  <a:lnTo>
                    <a:pt x="187" y="56"/>
                  </a:lnTo>
                  <a:lnTo>
                    <a:pt x="187" y="72"/>
                  </a:lnTo>
                  <a:lnTo>
                    <a:pt x="187" y="85"/>
                  </a:lnTo>
                  <a:lnTo>
                    <a:pt x="187" y="101"/>
                  </a:lnTo>
                  <a:lnTo>
                    <a:pt x="187" y="130"/>
                  </a:lnTo>
                  <a:lnTo>
                    <a:pt x="157" y="157"/>
                  </a:lnTo>
                  <a:lnTo>
                    <a:pt x="144" y="157"/>
                  </a:lnTo>
                  <a:lnTo>
                    <a:pt x="130" y="157"/>
                  </a:lnTo>
                  <a:lnTo>
                    <a:pt x="130" y="130"/>
                  </a:lnTo>
                  <a:lnTo>
                    <a:pt x="144" y="114"/>
                  </a:lnTo>
                  <a:lnTo>
                    <a:pt x="130" y="114"/>
                  </a:lnTo>
                  <a:lnTo>
                    <a:pt x="144" y="101"/>
                  </a:lnTo>
                  <a:lnTo>
                    <a:pt x="157" y="85"/>
                  </a:lnTo>
                  <a:lnTo>
                    <a:pt x="157" y="72"/>
                  </a:lnTo>
                  <a:lnTo>
                    <a:pt x="144" y="56"/>
                  </a:lnTo>
                  <a:lnTo>
                    <a:pt x="115" y="56"/>
                  </a:lnTo>
                  <a:lnTo>
                    <a:pt x="115" y="44"/>
                  </a:lnTo>
                  <a:lnTo>
                    <a:pt x="115" y="56"/>
                  </a:lnTo>
                  <a:lnTo>
                    <a:pt x="101" y="85"/>
                  </a:lnTo>
                  <a:lnTo>
                    <a:pt x="101" y="114"/>
                  </a:lnTo>
                  <a:lnTo>
                    <a:pt x="86" y="130"/>
                  </a:lnTo>
                  <a:lnTo>
                    <a:pt x="86" y="143"/>
                  </a:lnTo>
                  <a:lnTo>
                    <a:pt x="72" y="143"/>
                  </a:lnTo>
                  <a:lnTo>
                    <a:pt x="72" y="157"/>
                  </a:lnTo>
                  <a:lnTo>
                    <a:pt x="57" y="172"/>
                  </a:lnTo>
                  <a:lnTo>
                    <a:pt x="29" y="172"/>
                  </a:lnTo>
                  <a:lnTo>
                    <a:pt x="29" y="202"/>
                  </a:lnTo>
                  <a:lnTo>
                    <a:pt x="43" y="202"/>
                  </a:lnTo>
                  <a:lnTo>
                    <a:pt x="43" y="215"/>
                  </a:lnTo>
                  <a:lnTo>
                    <a:pt x="16" y="229"/>
                  </a:lnTo>
                  <a:lnTo>
                    <a:pt x="16" y="202"/>
                  </a:lnTo>
                  <a:lnTo>
                    <a:pt x="0" y="202"/>
                  </a:lnTo>
                  <a:lnTo>
                    <a:pt x="0" y="215"/>
                  </a:lnTo>
                  <a:lnTo>
                    <a:pt x="0" y="229"/>
                  </a:lnTo>
                  <a:lnTo>
                    <a:pt x="0" y="258"/>
                  </a:lnTo>
                  <a:lnTo>
                    <a:pt x="16" y="258"/>
                  </a:lnTo>
                  <a:lnTo>
                    <a:pt x="29" y="273"/>
                  </a:lnTo>
                  <a:lnTo>
                    <a:pt x="72" y="287"/>
                  </a:lnTo>
                  <a:lnTo>
                    <a:pt x="72" y="300"/>
                  </a:lnTo>
                  <a:lnTo>
                    <a:pt x="86" y="300"/>
                  </a:lnTo>
                  <a:lnTo>
                    <a:pt x="101" y="287"/>
                  </a:lnTo>
                  <a:lnTo>
                    <a:pt x="115" y="287"/>
                  </a:lnTo>
                  <a:lnTo>
                    <a:pt x="130" y="300"/>
                  </a:lnTo>
                  <a:lnTo>
                    <a:pt x="144" y="316"/>
                  </a:lnTo>
                  <a:lnTo>
                    <a:pt x="173" y="345"/>
                  </a:lnTo>
                  <a:lnTo>
                    <a:pt x="173" y="359"/>
                  </a:lnTo>
                  <a:lnTo>
                    <a:pt x="202" y="345"/>
                  </a:lnTo>
                  <a:lnTo>
                    <a:pt x="202" y="329"/>
                  </a:lnTo>
                  <a:lnTo>
                    <a:pt x="202" y="300"/>
                  </a:lnTo>
                  <a:lnTo>
                    <a:pt x="202" y="287"/>
                  </a:lnTo>
                  <a:lnTo>
                    <a:pt x="202" y="273"/>
                  </a:lnTo>
                  <a:lnTo>
                    <a:pt x="231" y="258"/>
                  </a:lnTo>
                  <a:lnTo>
                    <a:pt x="276" y="242"/>
                  </a:lnTo>
                  <a:lnTo>
                    <a:pt x="289" y="258"/>
                  </a:lnTo>
                  <a:lnTo>
                    <a:pt x="305" y="258"/>
                  </a:lnTo>
                  <a:lnTo>
                    <a:pt x="318" y="258"/>
                  </a:lnTo>
                  <a:lnTo>
                    <a:pt x="332" y="258"/>
                  </a:lnTo>
                  <a:lnTo>
                    <a:pt x="346" y="258"/>
                  </a:lnTo>
                  <a:lnTo>
                    <a:pt x="359" y="215"/>
                  </a:lnTo>
                  <a:lnTo>
                    <a:pt x="359" y="202"/>
                  </a:lnTo>
                  <a:lnTo>
                    <a:pt x="346" y="186"/>
                  </a:lnTo>
                  <a:lnTo>
                    <a:pt x="359" y="172"/>
                  </a:lnTo>
                  <a:lnTo>
                    <a:pt x="359" y="157"/>
                  </a:lnTo>
                  <a:lnTo>
                    <a:pt x="359" y="130"/>
                  </a:lnTo>
                  <a:lnTo>
                    <a:pt x="359" y="114"/>
                  </a:lnTo>
                  <a:lnTo>
                    <a:pt x="375" y="114"/>
                  </a:lnTo>
                  <a:lnTo>
                    <a:pt x="375" y="101"/>
                  </a:lnTo>
                  <a:lnTo>
                    <a:pt x="375" y="85"/>
                  </a:lnTo>
                  <a:lnTo>
                    <a:pt x="375" y="72"/>
                  </a:lnTo>
                  <a:lnTo>
                    <a:pt x="390" y="56"/>
                  </a:lnTo>
                  <a:lnTo>
                    <a:pt x="375" y="44"/>
                  </a:lnTo>
                  <a:lnTo>
                    <a:pt x="359" y="56"/>
                  </a:lnTo>
                  <a:close/>
                </a:path>
              </a:pathLst>
            </a:custGeom>
            <a:grpFill/>
            <a:ln w="3175" cmpd="sng">
              <a:solidFill>
                <a:schemeClr val="bg1"/>
              </a:solidFill>
              <a:round/>
              <a:headEnd/>
              <a:tailEnd/>
            </a:ln>
          </p:spPr>
          <p:txBody>
            <a:bodyPr/>
            <a:lstStyle/>
            <a:p>
              <a:endParaRPr lang="da-DK"/>
            </a:p>
          </p:txBody>
        </p:sp>
        <p:sp>
          <p:nvSpPr>
            <p:cNvPr id="99" name="Freeform 1140">
              <a:extLst>
                <a:ext uri="{FF2B5EF4-FFF2-40B4-BE49-F238E27FC236}">
                  <a16:creationId xmlns:a16="http://schemas.microsoft.com/office/drawing/2014/main" id="{7E44C33B-A732-AD56-6313-EC465719A9B3}"/>
                </a:ext>
              </a:extLst>
            </p:cNvPr>
            <p:cNvSpPr>
              <a:spLocks/>
            </p:cNvSpPr>
            <p:nvPr>
              <p:custDataLst>
                <p:tags r:id="rId78"/>
              </p:custDataLst>
            </p:nvPr>
          </p:nvSpPr>
          <p:spPr bwMode="auto">
            <a:xfrm>
              <a:off x="5678408" y="4651473"/>
              <a:ext cx="7343" cy="89575"/>
            </a:xfrm>
            <a:custGeom>
              <a:avLst/>
              <a:gdLst>
                <a:gd name="T0" fmla="*/ 2646 w 6"/>
                <a:gd name="T1" fmla="*/ 96838 h 72"/>
                <a:gd name="T2" fmla="*/ 0 w 6"/>
                <a:gd name="T3" fmla="*/ 72629 h 72"/>
                <a:gd name="T4" fmla="*/ 7938 w 6"/>
                <a:gd name="T5" fmla="*/ 53799 h 72"/>
                <a:gd name="T6" fmla="*/ 6615 w 6"/>
                <a:gd name="T7" fmla="*/ 25554 h 72"/>
                <a:gd name="T8" fmla="*/ 3969 w 6"/>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2">
                  <a:moveTo>
                    <a:pt x="2" y="72"/>
                  </a:moveTo>
                  <a:lnTo>
                    <a:pt x="0" y="54"/>
                  </a:lnTo>
                  <a:lnTo>
                    <a:pt x="6" y="40"/>
                  </a:lnTo>
                  <a:lnTo>
                    <a:pt x="5" y="19"/>
                  </a:lnTo>
                  <a:lnTo>
                    <a:pt x="3" y="0"/>
                  </a:lnTo>
                </a:path>
              </a:pathLst>
            </a:custGeom>
            <a:grpFill/>
            <a:ln w="3175" cap="flat" cmpd="sng">
              <a:solidFill>
                <a:schemeClr val="bg1"/>
              </a:solidFill>
              <a:prstDash val="solid"/>
              <a:round/>
              <a:headEnd/>
              <a:tailEnd/>
            </a:ln>
            <a:effectLst/>
          </p:spPr>
          <p:txBody>
            <a:bodyPr wrap="none" anchor="ctr"/>
            <a:lstStyle/>
            <a:p>
              <a:endParaRPr lang="da-DK"/>
            </a:p>
          </p:txBody>
        </p:sp>
        <p:sp>
          <p:nvSpPr>
            <p:cNvPr id="100" name="Freeform 1146">
              <a:extLst>
                <a:ext uri="{FF2B5EF4-FFF2-40B4-BE49-F238E27FC236}">
                  <a16:creationId xmlns:a16="http://schemas.microsoft.com/office/drawing/2014/main" id="{5FCF45A1-FB3F-BE1E-9D64-1C084A9A4B26}"/>
                </a:ext>
              </a:extLst>
            </p:cNvPr>
            <p:cNvSpPr>
              <a:spLocks/>
            </p:cNvSpPr>
            <p:nvPr>
              <p:custDataLst>
                <p:tags r:id="rId79"/>
              </p:custDataLst>
            </p:nvPr>
          </p:nvSpPr>
          <p:spPr bwMode="auto">
            <a:xfrm>
              <a:off x="1668106" y="1696978"/>
              <a:ext cx="819388" cy="462558"/>
            </a:xfrm>
            <a:custGeom>
              <a:avLst/>
              <a:gdLst>
                <a:gd name="T0" fmla="*/ 309162 w 404"/>
                <a:gd name="T1" fmla="*/ 449332 h 276"/>
                <a:gd name="T2" fmla="*/ 383711 w 404"/>
                <a:gd name="T3" fmla="*/ 467450 h 276"/>
                <a:gd name="T4" fmla="*/ 377133 w 404"/>
                <a:gd name="T5" fmla="*/ 485568 h 276"/>
                <a:gd name="T6" fmla="*/ 467031 w 404"/>
                <a:gd name="T7" fmla="*/ 498251 h 276"/>
                <a:gd name="T8" fmla="*/ 561315 w 404"/>
                <a:gd name="T9" fmla="*/ 483757 h 276"/>
                <a:gd name="T10" fmla="*/ 567893 w 404"/>
                <a:gd name="T11" fmla="*/ 478321 h 276"/>
                <a:gd name="T12" fmla="*/ 589819 w 404"/>
                <a:gd name="T13" fmla="*/ 427590 h 276"/>
                <a:gd name="T14" fmla="*/ 659983 w 404"/>
                <a:gd name="T15" fmla="*/ 402225 h 276"/>
                <a:gd name="T16" fmla="*/ 760845 w 404"/>
                <a:gd name="T17" fmla="*/ 318881 h 276"/>
                <a:gd name="T18" fmla="*/ 774001 w 404"/>
                <a:gd name="T19" fmla="*/ 313445 h 276"/>
                <a:gd name="T20" fmla="*/ 809083 w 404"/>
                <a:gd name="T21" fmla="*/ 313445 h 276"/>
                <a:gd name="T22" fmla="*/ 835394 w 404"/>
                <a:gd name="T23" fmla="*/ 244596 h 276"/>
                <a:gd name="T24" fmla="*/ 866091 w 404"/>
                <a:gd name="T25" fmla="*/ 213795 h 276"/>
                <a:gd name="T26" fmla="*/ 855128 w 404"/>
                <a:gd name="T27" fmla="*/ 197489 h 276"/>
                <a:gd name="T28" fmla="*/ 841972 w 404"/>
                <a:gd name="T29" fmla="*/ 184806 h 276"/>
                <a:gd name="T30" fmla="*/ 855128 w 404"/>
                <a:gd name="T31" fmla="*/ 155817 h 276"/>
                <a:gd name="T32" fmla="*/ 848550 w 404"/>
                <a:gd name="T33" fmla="*/ 101462 h 276"/>
                <a:gd name="T34" fmla="*/ 774001 w 404"/>
                <a:gd name="T35" fmla="*/ 79720 h 276"/>
                <a:gd name="T36" fmla="*/ 743304 w 404"/>
                <a:gd name="T37" fmla="*/ 43484 h 276"/>
                <a:gd name="T38" fmla="*/ 710414 w 404"/>
                <a:gd name="T39" fmla="*/ 21742 h 276"/>
                <a:gd name="T40" fmla="*/ 686295 w 404"/>
                <a:gd name="T41" fmla="*/ 38048 h 276"/>
                <a:gd name="T42" fmla="*/ 646828 w 404"/>
                <a:gd name="T43" fmla="*/ 16306 h 276"/>
                <a:gd name="T44" fmla="*/ 616131 w 404"/>
                <a:gd name="T45" fmla="*/ 0 h 276"/>
                <a:gd name="T46" fmla="*/ 589819 w 404"/>
                <a:gd name="T47" fmla="*/ 10871 h 276"/>
                <a:gd name="T48" fmla="*/ 596397 w 404"/>
                <a:gd name="T49" fmla="*/ 48919 h 276"/>
                <a:gd name="T50" fmla="*/ 545966 w 404"/>
                <a:gd name="T51" fmla="*/ 70661 h 276"/>
                <a:gd name="T52" fmla="*/ 473609 w 404"/>
                <a:gd name="T53" fmla="*/ 79720 h 276"/>
                <a:gd name="T54" fmla="*/ 502114 w 404"/>
                <a:gd name="T55" fmla="*/ 143134 h 276"/>
                <a:gd name="T56" fmla="*/ 423179 w 404"/>
                <a:gd name="T57" fmla="*/ 85156 h 276"/>
                <a:gd name="T58" fmla="*/ 396867 w 404"/>
                <a:gd name="T59" fmla="*/ 161252 h 276"/>
                <a:gd name="T60" fmla="*/ 309162 w 404"/>
                <a:gd name="T61" fmla="*/ 125016 h 276"/>
                <a:gd name="T62" fmla="*/ 309162 w 404"/>
                <a:gd name="T63" fmla="*/ 197489 h 276"/>
                <a:gd name="T64" fmla="*/ 276272 w 404"/>
                <a:gd name="T65" fmla="*/ 202924 h 276"/>
                <a:gd name="T66" fmla="*/ 241190 w 404"/>
                <a:gd name="T67" fmla="*/ 230101 h 276"/>
                <a:gd name="T68" fmla="*/ 201723 w 404"/>
                <a:gd name="T69" fmla="*/ 184806 h 276"/>
                <a:gd name="T70" fmla="*/ 238997 w 404"/>
                <a:gd name="T71" fmla="*/ 163064 h 276"/>
                <a:gd name="T72" fmla="*/ 190759 w 404"/>
                <a:gd name="T73" fmla="*/ 132263 h 276"/>
                <a:gd name="T74" fmla="*/ 109632 w 404"/>
                <a:gd name="T75" fmla="*/ 85156 h 276"/>
                <a:gd name="T76" fmla="*/ 138136 w 404"/>
                <a:gd name="T77" fmla="*/ 132263 h 276"/>
                <a:gd name="T78" fmla="*/ 153485 w 404"/>
                <a:gd name="T79" fmla="*/ 161252 h 276"/>
                <a:gd name="T80" fmla="*/ 122788 w 404"/>
                <a:gd name="T81" fmla="*/ 168499 h 276"/>
                <a:gd name="T82" fmla="*/ 50431 w 404"/>
                <a:gd name="T83" fmla="*/ 173935 h 276"/>
                <a:gd name="T84" fmla="*/ 28504 w 404"/>
                <a:gd name="T85" fmla="*/ 192053 h 276"/>
                <a:gd name="T86" fmla="*/ 76742 w 404"/>
                <a:gd name="T87" fmla="*/ 230101 h 276"/>
                <a:gd name="T88" fmla="*/ 39467 w 404"/>
                <a:gd name="T89" fmla="*/ 230101 h 276"/>
                <a:gd name="T90" fmla="*/ 50431 w 404"/>
                <a:gd name="T91" fmla="*/ 260902 h 276"/>
                <a:gd name="T92" fmla="*/ 116210 w 404"/>
                <a:gd name="T93" fmla="*/ 230101 h 276"/>
                <a:gd name="T94" fmla="*/ 160062 w 404"/>
                <a:gd name="T95" fmla="*/ 240972 h 276"/>
                <a:gd name="T96" fmla="*/ 160062 w 404"/>
                <a:gd name="T97" fmla="*/ 286268 h 276"/>
                <a:gd name="T98" fmla="*/ 217071 w 404"/>
                <a:gd name="T99" fmla="*/ 297139 h 276"/>
                <a:gd name="T100" fmla="*/ 63586 w 404"/>
                <a:gd name="T101" fmla="*/ 360553 h 276"/>
                <a:gd name="T102" fmla="*/ 171026 w 404"/>
                <a:gd name="T103" fmla="*/ 333375 h 276"/>
                <a:gd name="T104" fmla="*/ 232419 w 404"/>
                <a:gd name="T105" fmla="*/ 371424 h 276"/>
                <a:gd name="T106" fmla="*/ 247768 w 404"/>
                <a:gd name="T107" fmla="*/ 394977 h 276"/>
                <a:gd name="T108" fmla="*/ 173218 w 404"/>
                <a:gd name="T109" fmla="*/ 449332 h 276"/>
                <a:gd name="T110" fmla="*/ 254346 w 404"/>
                <a:gd name="T111" fmla="*/ 472886 h 2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4" h="276">
                  <a:moveTo>
                    <a:pt x="116" y="261"/>
                  </a:moveTo>
                  <a:lnTo>
                    <a:pt x="126" y="264"/>
                  </a:lnTo>
                  <a:lnTo>
                    <a:pt x="141" y="248"/>
                  </a:lnTo>
                  <a:lnTo>
                    <a:pt x="141" y="251"/>
                  </a:lnTo>
                  <a:lnTo>
                    <a:pt x="158" y="251"/>
                  </a:lnTo>
                  <a:lnTo>
                    <a:pt x="175" y="258"/>
                  </a:lnTo>
                  <a:lnTo>
                    <a:pt x="169" y="264"/>
                  </a:lnTo>
                  <a:lnTo>
                    <a:pt x="158" y="261"/>
                  </a:lnTo>
                  <a:lnTo>
                    <a:pt x="172" y="268"/>
                  </a:lnTo>
                  <a:lnTo>
                    <a:pt x="187" y="275"/>
                  </a:lnTo>
                  <a:lnTo>
                    <a:pt x="199" y="271"/>
                  </a:lnTo>
                  <a:lnTo>
                    <a:pt x="213" y="275"/>
                  </a:lnTo>
                  <a:lnTo>
                    <a:pt x="223" y="275"/>
                  </a:lnTo>
                  <a:lnTo>
                    <a:pt x="236" y="271"/>
                  </a:lnTo>
                  <a:lnTo>
                    <a:pt x="256" y="267"/>
                  </a:lnTo>
                  <a:lnTo>
                    <a:pt x="253" y="258"/>
                  </a:lnTo>
                  <a:lnTo>
                    <a:pt x="259" y="261"/>
                  </a:lnTo>
                  <a:lnTo>
                    <a:pt x="259" y="264"/>
                  </a:lnTo>
                  <a:lnTo>
                    <a:pt x="272" y="245"/>
                  </a:lnTo>
                  <a:lnTo>
                    <a:pt x="266" y="233"/>
                  </a:lnTo>
                  <a:lnTo>
                    <a:pt x="269" y="236"/>
                  </a:lnTo>
                  <a:lnTo>
                    <a:pt x="272" y="227"/>
                  </a:lnTo>
                  <a:lnTo>
                    <a:pt x="281" y="233"/>
                  </a:lnTo>
                  <a:lnTo>
                    <a:pt x="301" y="222"/>
                  </a:lnTo>
                  <a:lnTo>
                    <a:pt x="304" y="222"/>
                  </a:lnTo>
                  <a:lnTo>
                    <a:pt x="316" y="215"/>
                  </a:lnTo>
                  <a:lnTo>
                    <a:pt x="347" y="176"/>
                  </a:lnTo>
                  <a:lnTo>
                    <a:pt x="344" y="170"/>
                  </a:lnTo>
                  <a:lnTo>
                    <a:pt x="350" y="167"/>
                  </a:lnTo>
                  <a:lnTo>
                    <a:pt x="353" y="173"/>
                  </a:lnTo>
                  <a:lnTo>
                    <a:pt x="363" y="170"/>
                  </a:lnTo>
                  <a:lnTo>
                    <a:pt x="359" y="176"/>
                  </a:lnTo>
                  <a:lnTo>
                    <a:pt x="369" y="173"/>
                  </a:lnTo>
                  <a:lnTo>
                    <a:pt x="369" y="167"/>
                  </a:lnTo>
                  <a:lnTo>
                    <a:pt x="378" y="158"/>
                  </a:lnTo>
                  <a:lnTo>
                    <a:pt x="381" y="135"/>
                  </a:lnTo>
                  <a:lnTo>
                    <a:pt x="384" y="133"/>
                  </a:lnTo>
                  <a:lnTo>
                    <a:pt x="381" y="130"/>
                  </a:lnTo>
                  <a:lnTo>
                    <a:pt x="395" y="118"/>
                  </a:lnTo>
                  <a:lnTo>
                    <a:pt x="399" y="115"/>
                  </a:lnTo>
                  <a:lnTo>
                    <a:pt x="392" y="112"/>
                  </a:lnTo>
                  <a:lnTo>
                    <a:pt x="390" y="109"/>
                  </a:lnTo>
                  <a:lnTo>
                    <a:pt x="395" y="109"/>
                  </a:lnTo>
                  <a:lnTo>
                    <a:pt x="392" y="102"/>
                  </a:lnTo>
                  <a:lnTo>
                    <a:pt x="384" y="102"/>
                  </a:lnTo>
                  <a:lnTo>
                    <a:pt x="403" y="93"/>
                  </a:lnTo>
                  <a:lnTo>
                    <a:pt x="392" y="86"/>
                  </a:lnTo>
                  <a:lnTo>
                    <a:pt x="390" y="86"/>
                  </a:lnTo>
                  <a:lnTo>
                    <a:pt x="395" y="82"/>
                  </a:lnTo>
                  <a:lnTo>
                    <a:pt x="384" y="73"/>
                  </a:lnTo>
                  <a:lnTo>
                    <a:pt x="387" y="56"/>
                  </a:lnTo>
                  <a:lnTo>
                    <a:pt x="384" y="59"/>
                  </a:lnTo>
                  <a:lnTo>
                    <a:pt x="363" y="56"/>
                  </a:lnTo>
                  <a:lnTo>
                    <a:pt x="353" y="44"/>
                  </a:lnTo>
                  <a:lnTo>
                    <a:pt x="339" y="47"/>
                  </a:lnTo>
                  <a:lnTo>
                    <a:pt x="341" y="30"/>
                  </a:lnTo>
                  <a:lnTo>
                    <a:pt x="339" y="24"/>
                  </a:lnTo>
                  <a:lnTo>
                    <a:pt x="327" y="27"/>
                  </a:lnTo>
                  <a:lnTo>
                    <a:pt x="327" y="18"/>
                  </a:lnTo>
                  <a:lnTo>
                    <a:pt x="324" y="12"/>
                  </a:lnTo>
                  <a:lnTo>
                    <a:pt x="336" y="0"/>
                  </a:lnTo>
                  <a:lnTo>
                    <a:pt x="316" y="12"/>
                  </a:lnTo>
                  <a:lnTo>
                    <a:pt x="313" y="21"/>
                  </a:lnTo>
                  <a:lnTo>
                    <a:pt x="295" y="15"/>
                  </a:lnTo>
                  <a:lnTo>
                    <a:pt x="298" y="9"/>
                  </a:lnTo>
                  <a:lnTo>
                    <a:pt x="295" y="9"/>
                  </a:lnTo>
                  <a:lnTo>
                    <a:pt x="287" y="6"/>
                  </a:lnTo>
                  <a:lnTo>
                    <a:pt x="284" y="0"/>
                  </a:lnTo>
                  <a:lnTo>
                    <a:pt x="281" y="0"/>
                  </a:lnTo>
                  <a:lnTo>
                    <a:pt x="275" y="3"/>
                  </a:lnTo>
                  <a:lnTo>
                    <a:pt x="275" y="6"/>
                  </a:lnTo>
                  <a:lnTo>
                    <a:pt x="269" y="6"/>
                  </a:lnTo>
                  <a:lnTo>
                    <a:pt x="269" y="12"/>
                  </a:lnTo>
                  <a:lnTo>
                    <a:pt x="272" y="18"/>
                  </a:lnTo>
                  <a:lnTo>
                    <a:pt x="272" y="27"/>
                  </a:lnTo>
                  <a:lnTo>
                    <a:pt x="263" y="39"/>
                  </a:lnTo>
                  <a:lnTo>
                    <a:pt x="253" y="33"/>
                  </a:lnTo>
                  <a:lnTo>
                    <a:pt x="249" y="39"/>
                  </a:lnTo>
                  <a:lnTo>
                    <a:pt x="246" y="47"/>
                  </a:lnTo>
                  <a:lnTo>
                    <a:pt x="243" y="50"/>
                  </a:lnTo>
                  <a:lnTo>
                    <a:pt x="216" y="44"/>
                  </a:lnTo>
                  <a:lnTo>
                    <a:pt x="207" y="47"/>
                  </a:lnTo>
                  <a:lnTo>
                    <a:pt x="223" y="66"/>
                  </a:lnTo>
                  <a:lnTo>
                    <a:pt x="229" y="79"/>
                  </a:lnTo>
                  <a:lnTo>
                    <a:pt x="223" y="82"/>
                  </a:lnTo>
                  <a:lnTo>
                    <a:pt x="213" y="66"/>
                  </a:lnTo>
                  <a:lnTo>
                    <a:pt x="193" y="47"/>
                  </a:lnTo>
                  <a:lnTo>
                    <a:pt x="184" y="64"/>
                  </a:lnTo>
                  <a:lnTo>
                    <a:pt x="178" y="64"/>
                  </a:lnTo>
                  <a:lnTo>
                    <a:pt x="181" y="89"/>
                  </a:lnTo>
                  <a:lnTo>
                    <a:pt x="175" y="89"/>
                  </a:lnTo>
                  <a:lnTo>
                    <a:pt x="147" y="66"/>
                  </a:lnTo>
                  <a:lnTo>
                    <a:pt x="141" y="69"/>
                  </a:lnTo>
                  <a:lnTo>
                    <a:pt x="138" y="76"/>
                  </a:lnTo>
                  <a:lnTo>
                    <a:pt x="147" y="102"/>
                  </a:lnTo>
                  <a:lnTo>
                    <a:pt x="141" y="109"/>
                  </a:lnTo>
                  <a:lnTo>
                    <a:pt x="144" y="115"/>
                  </a:lnTo>
                  <a:lnTo>
                    <a:pt x="129" y="106"/>
                  </a:lnTo>
                  <a:lnTo>
                    <a:pt x="126" y="112"/>
                  </a:lnTo>
                  <a:lnTo>
                    <a:pt x="123" y="142"/>
                  </a:lnTo>
                  <a:lnTo>
                    <a:pt x="119" y="127"/>
                  </a:lnTo>
                  <a:lnTo>
                    <a:pt x="110" y="127"/>
                  </a:lnTo>
                  <a:lnTo>
                    <a:pt x="113" y="115"/>
                  </a:lnTo>
                  <a:lnTo>
                    <a:pt x="109" y="115"/>
                  </a:lnTo>
                  <a:lnTo>
                    <a:pt x="92" y="102"/>
                  </a:lnTo>
                  <a:lnTo>
                    <a:pt x="99" y="106"/>
                  </a:lnTo>
                  <a:lnTo>
                    <a:pt x="109" y="102"/>
                  </a:lnTo>
                  <a:lnTo>
                    <a:pt x="109" y="90"/>
                  </a:lnTo>
                  <a:lnTo>
                    <a:pt x="99" y="79"/>
                  </a:lnTo>
                  <a:lnTo>
                    <a:pt x="90" y="79"/>
                  </a:lnTo>
                  <a:lnTo>
                    <a:pt x="87" y="73"/>
                  </a:lnTo>
                  <a:lnTo>
                    <a:pt x="67" y="64"/>
                  </a:lnTo>
                  <a:lnTo>
                    <a:pt x="64" y="50"/>
                  </a:lnTo>
                  <a:lnTo>
                    <a:pt x="50" y="47"/>
                  </a:lnTo>
                  <a:lnTo>
                    <a:pt x="38" y="64"/>
                  </a:lnTo>
                  <a:lnTo>
                    <a:pt x="53" y="64"/>
                  </a:lnTo>
                  <a:lnTo>
                    <a:pt x="63" y="73"/>
                  </a:lnTo>
                  <a:lnTo>
                    <a:pt x="47" y="73"/>
                  </a:lnTo>
                  <a:lnTo>
                    <a:pt x="59" y="79"/>
                  </a:lnTo>
                  <a:lnTo>
                    <a:pt x="70" y="89"/>
                  </a:lnTo>
                  <a:lnTo>
                    <a:pt x="64" y="96"/>
                  </a:lnTo>
                  <a:lnTo>
                    <a:pt x="59" y="90"/>
                  </a:lnTo>
                  <a:lnTo>
                    <a:pt x="56" y="93"/>
                  </a:lnTo>
                  <a:lnTo>
                    <a:pt x="50" y="89"/>
                  </a:lnTo>
                  <a:lnTo>
                    <a:pt x="26" y="86"/>
                  </a:lnTo>
                  <a:lnTo>
                    <a:pt x="23" y="96"/>
                  </a:lnTo>
                  <a:lnTo>
                    <a:pt x="29" y="99"/>
                  </a:lnTo>
                  <a:lnTo>
                    <a:pt x="29" y="102"/>
                  </a:lnTo>
                  <a:lnTo>
                    <a:pt x="13" y="106"/>
                  </a:lnTo>
                  <a:lnTo>
                    <a:pt x="19" y="112"/>
                  </a:lnTo>
                  <a:lnTo>
                    <a:pt x="41" y="112"/>
                  </a:lnTo>
                  <a:lnTo>
                    <a:pt x="35" y="127"/>
                  </a:lnTo>
                  <a:lnTo>
                    <a:pt x="18" y="115"/>
                  </a:lnTo>
                  <a:lnTo>
                    <a:pt x="9" y="115"/>
                  </a:lnTo>
                  <a:lnTo>
                    <a:pt x="18" y="127"/>
                  </a:lnTo>
                  <a:lnTo>
                    <a:pt x="1" y="133"/>
                  </a:lnTo>
                  <a:lnTo>
                    <a:pt x="0" y="142"/>
                  </a:lnTo>
                  <a:lnTo>
                    <a:pt x="23" y="144"/>
                  </a:lnTo>
                  <a:lnTo>
                    <a:pt x="29" y="138"/>
                  </a:lnTo>
                  <a:lnTo>
                    <a:pt x="41" y="135"/>
                  </a:lnTo>
                  <a:lnTo>
                    <a:pt x="53" y="127"/>
                  </a:lnTo>
                  <a:lnTo>
                    <a:pt x="63" y="130"/>
                  </a:lnTo>
                  <a:lnTo>
                    <a:pt x="78" y="118"/>
                  </a:lnTo>
                  <a:lnTo>
                    <a:pt x="73" y="133"/>
                  </a:lnTo>
                  <a:lnTo>
                    <a:pt x="87" y="127"/>
                  </a:lnTo>
                  <a:lnTo>
                    <a:pt x="99" y="130"/>
                  </a:lnTo>
                  <a:lnTo>
                    <a:pt x="73" y="158"/>
                  </a:lnTo>
                  <a:lnTo>
                    <a:pt x="90" y="158"/>
                  </a:lnTo>
                  <a:lnTo>
                    <a:pt x="103" y="152"/>
                  </a:lnTo>
                  <a:lnTo>
                    <a:pt x="99" y="164"/>
                  </a:lnTo>
                  <a:lnTo>
                    <a:pt x="41" y="184"/>
                  </a:lnTo>
                  <a:lnTo>
                    <a:pt x="19" y="190"/>
                  </a:lnTo>
                  <a:lnTo>
                    <a:pt x="29" y="199"/>
                  </a:lnTo>
                  <a:lnTo>
                    <a:pt x="63" y="184"/>
                  </a:lnTo>
                  <a:lnTo>
                    <a:pt x="67" y="190"/>
                  </a:lnTo>
                  <a:lnTo>
                    <a:pt x="78" y="184"/>
                  </a:lnTo>
                  <a:lnTo>
                    <a:pt x="92" y="205"/>
                  </a:lnTo>
                  <a:lnTo>
                    <a:pt x="103" y="208"/>
                  </a:lnTo>
                  <a:lnTo>
                    <a:pt x="106" y="205"/>
                  </a:lnTo>
                  <a:lnTo>
                    <a:pt x="106" y="212"/>
                  </a:lnTo>
                  <a:lnTo>
                    <a:pt x="109" y="218"/>
                  </a:lnTo>
                  <a:lnTo>
                    <a:pt x="113" y="218"/>
                  </a:lnTo>
                  <a:lnTo>
                    <a:pt x="106" y="245"/>
                  </a:lnTo>
                  <a:lnTo>
                    <a:pt x="92" y="258"/>
                  </a:lnTo>
                  <a:lnTo>
                    <a:pt x="79" y="248"/>
                  </a:lnTo>
                  <a:lnTo>
                    <a:pt x="83" y="271"/>
                  </a:lnTo>
                  <a:lnTo>
                    <a:pt x="116" y="261"/>
                  </a:lnTo>
                </a:path>
              </a:pathLst>
            </a:custGeom>
            <a:grpFill/>
            <a:ln w="3175">
              <a:solidFill>
                <a:schemeClr val="bg1"/>
              </a:solidFill>
            </a:ln>
            <a:effectLst/>
          </p:spPr>
          <p:txBody>
            <a:bodyPr/>
            <a:lstStyle/>
            <a:p>
              <a:endParaRPr lang="da-DK"/>
            </a:p>
          </p:txBody>
        </p:sp>
      </p:grpSp>
      <p:sp>
        <p:nvSpPr>
          <p:cNvPr id="2" name="Заглавие 1">
            <a:extLst>
              <a:ext uri="{FF2B5EF4-FFF2-40B4-BE49-F238E27FC236}">
                <a16:creationId xmlns:a16="http://schemas.microsoft.com/office/drawing/2014/main" id="{534D4644-9E31-830D-C173-80D22447C34E}"/>
              </a:ext>
            </a:extLst>
          </p:cNvPr>
          <p:cNvSpPr>
            <a:spLocks noGrp="1"/>
          </p:cNvSpPr>
          <p:nvPr>
            <p:ph type="title"/>
          </p:nvPr>
        </p:nvSpPr>
        <p:spPr/>
        <p:txBody>
          <a:bodyPr>
            <a:noAutofit/>
          </a:bodyPr>
          <a:lstStyle/>
          <a:p>
            <a:r>
              <a:rPr lang="bg-BG" sz="2400" dirty="0">
                <a:solidFill>
                  <a:schemeClr val="accent2"/>
                </a:solidFill>
              </a:rPr>
              <a:t>ОТНОШЕНИЕ КЪМ ПРИСЪЕДИНЯВАНЕТО НА БЪЛГАРИЯ КЪМ ЕВРОЗОНАТА (%)</a:t>
            </a:r>
          </a:p>
        </p:txBody>
      </p:sp>
      <p:sp>
        <p:nvSpPr>
          <p:cNvPr id="3" name="Контейнер за номер на слайда 2">
            <a:extLst>
              <a:ext uri="{FF2B5EF4-FFF2-40B4-BE49-F238E27FC236}">
                <a16:creationId xmlns:a16="http://schemas.microsoft.com/office/drawing/2014/main" id="{E461184D-EA28-9BA1-F6B6-F5255E092BB3}"/>
              </a:ext>
            </a:extLst>
          </p:cNvPr>
          <p:cNvSpPr>
            <a:spLocks noGrp="1"/>
          </p:cNvSpPr>
          <p:nvPr>
            <p:ph type="sldNum" sz="quarter" idx="4"/>
          </p:nvPr>
        </p:nvSpPr>
        <p:spPr/>
        <p:txBody>
          <a:bodyPr/>
          <a:lstStyle/>
          <a:p>
            <a:fld id="{DE3AA45F-980D-4F34-ABAD-1E35E3E654A8}" type="slidenum">
              <a:rPr lang="bg-BG" smtClean="0"/>
              <a:pPr/>
              <a:t>9</a:t>
            </a:fld>
            <a:endParaRPr lang="bg-BG" dirty="0"/>
          </a:p>
        </p:txBody>
      </p:sp>
      <p:graphicFrame>
        <p:nvGraphicFramePr>
          <p:cNvPr id="7" name="Диаграма 6">
            <a:extLst>
              <a:ext uri="{FF2B5EF4-FFF2-40B4-BE49-F238E27FC236}">
                <a16:creationId xmlns:a16="http://schemas.microsoft.com/office/drawing/2014/main" id="{6327130D-67FE-5BD0-E30C-BEEA8AD69585}"/>
              </a:ext>
            </a:extLst>
          </p:cNvPr>
          <p:cNvGraphicFramePr/>
          <p:nvPr>
            <p:extLst>
              <p:ext uri="{D42A27DB-BD31-4B8C-83A1-F6EECF244321}">
                <p14:modId xmlns:p14="http://schemas.microsoft.com/office/powerpoint/2010/main" val="1939474404"/>
              </p:ext>
            </p:extLst>
          </p:nvPr>
        </p:nvGraphicFramePr>
        <p:xfrm>
          <a:off x="2032000" y="933218"/>
          <a:ext cx="9176470" cy="5205115"/>
        </p:xfrm>
        <a:graphic>
          <a:graphicData uri="http://schemas.openxmlformats.org/drawingml/2006/chart">
            <c:chart xmlns:c="http://schemas.openxmlformats.org/drawingml/2006/chart" xmlns:r="http://schemas.openxmlformats.org/officeDocument/2006/relationships" r:id="rId81"/>
          </a:graphicData>
        </a:graphic>
      </p:graphicFrame>
      <p:graphicFrame>
        <p:nvGraphicFramePr>
          <p:cNvPr id="8" name="Table 8">
            <a:extLst>
              <a:ext uri="{FF2B5EF4-FFF2-40B4-BE49-F238E27FC236}">
                <a16:creationId xmlns:a16="http://schemas.microsoft.com/office/drawing/2014/main" id="{3F51D5BE-72B7-E8B0-E1FB-B89B2ED92C03}"/>
              </a:ext>
            </a:extLst>
          </p:cNvPr>
          <p:cNvGraphicFramePr>
            <a:graphicFrameLocks noGrp="1"/>
          </p:cNvGraphicFramePr>
          <p:nvPr>
            <p:extLst>
              <p:ext uri="{D42A27DB-BD31-4B8C-83A1-F6EECF244321}">
                <p14:modId xmlns:p14="http://schemas.microsoft.com/office/powerpoint/2010/main" val="2201594904"/>
              </p:ext>
            </p:extLst>
          </p:nvPr>
        </p:nvGraphicFramePr>
        <p:xfrm>
          <a:off x="4327821" y="1707145"/>
          <a:ext cx="5631365" cy="301361"/>
        </p:xfrm>
        <a:graphic>
          <a:graphicData uri="http://schemas.openxmlformats.org/drawingml/2006/table">
            <a:tbl>
              <a:tblPr firstRow="1" bandRow="1">
                <a:tableStyleId>{5940675A-B579-460E-94D1-54222C63F5DA}</a:tableStyleId>
              </a:tblPr>
              <a:tblGrid>
                <a:gridCol w="2062533">
                  <a:extLst>
                    <a:ext uri="{9D8B030D-6E8A-4147-A177-3AD203B41FA5}">
                      <a16:colId xmlns:a16="http://schemas.microsoft.com/office/drawing/2014/main" val="20000"/>
                    </a:ext>
                  </a:extLst>
                </a:gridCol>
                <a:gridCol w="1953560">
                  <a:extLst>
                    <a:ext uri="{9D8B030D-6E8A-4147-A177-3AD203B41FA5}">
                      <a16:colId xmlns:a16="http://schemas.microsoft.com/office/drawing/2014/main" val="20002"/>
                    </a:ext>
                  </a:extLst>
                </a:gridCol>
                <a:gridCol w="1615272">
                  <a:extLst>
                    <a:ext uri="{9D8B030D-6E8A-4147-A177-3AD203B41FA5}">
                      <a16:colId xmlns:a16="http://schemas.microsoft.com/office/drawing/2014/main" val="20003"/>
                    </a:ext>
                  </a:extLst>
                </a:gridCol>
              </a:tblGrid>
              <a:tr h="301361">
                <a:tc>
                  <a:txBody>
                    <a:bodyPr/>
                    <a:lstStyle/>
                    <a:p>
                      <a:pPr algn="ctr"/>
                      <a:r>
                        <a:rPr lang="en-US" sz="1200" b="0" dirty="0">
                          <a:solidFill>
                            <a:schemeClr val="tx1"/>
                          </a:solidFill>
                          <a:latin typeface="+mn-lt"/>
                        </a:rPr>
                        <a:t>32.8</a:t>
                      </a:r>
                      <a:endParaRPr lang="bg-BG" sz="1200" b="0" dirty="0">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bg-BG" sz="1200" b="0" dirty="0">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rPr>
                        <a:t>64.3</a:t>
                      </a:r>
                      <a:endParaRPr lang="bg-BG" sz="1200" b="0" dirty="0">
                        <a:solidFill>
                          <a:schemeClr val="tx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9" name="TextBox 9">
            <a:extLst>
              <a:ext uri="{FF2B5EF4-FFF2-40B4-BE49-F238E27FC236}">
                <a16:creationId xmlns:a16="http://schemas.microsoft.com/office/drawing/2014/main" id="{98A3BA2B-FD13-AA0E-A3B6-8336477414BF}"/>
              </a:ext>
            </a:extLst>
          </p:cNvPr>
          <p:cNvSpPr txBox="1"/>
          <p:nvPr/>
        </p:nvSpPr>
        <p:spPr>
          <a:xfrm>
            <a:off x="1991818" y="1626992"/>
            <a:ext cx="1762125" cy="461665"/>
          </a:xfrm>
          <a:prstGeom prst="rect">
            <a:avLst/>
          </a:prstGeom>
          <a:noFill/>
        </p:spPr>
        <p:txBody>
          <a:bodyPr wrap="square" rtlCol="0">
            <a:spAutoFit/>
          </a:bodyPr>
          <a:lstStyle/>
          <a:p>
            <a:pPr algn="just"/>
            <a:r>
              <a:rPr lang="bg-BG" sz="1200" dirty="0"/>
              <a:t>Одобрявам % </a:t>
            </a:r>
          </a:p>
          <a:p>
            <a:pPr algn="just"/>
            <a:r>
              <a:rPr lang="bg-BG" sz="1200" dirty="0"/>
              <a:t>(Напълно + По-скоро)</a:t>
            </a:r>
          </a:p>
        </p:txBody>
      </p:sp>
      <p:sp>
        <p:nvSpPr>
          <p:cNvPr id="5" name="Овал 4">
            <a:extLst>
              <a:ext uri="{FF2B5EF4-FFF2-40B4-BE49-F238E27FC236}">
                <a16:creationId xmlns:a16="http://schemas.microsoft.com/office/drawing/2014/main" id="{F119C437-5ED5-BC61-E314-B402E53F05C1}"/>
              </a:ext>
            </a:extLst>
          </p:cNvPr>
          <p:cNvSpPr/>
          <p:nvPr/>
        </p:nvSpPr>
        <p:spPr>
          <a:xfrm>
            <a:off x="5164853" y="1667067"/>
            <a:ext cx="387597" cy="381514"/>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 name="Овал 5">
            <a:extLst>
              <a:ext uri="{FF2B5EF4-FFF2-40B4-BE49-F238E27FC236}">
                <a16:creationId xmlns:a16="http://schemas.microsoft.com/office/drawing/2014/main" id="{32DF2EB2-6313-4DFA-823E-0FA711897715}"/>
              </a:ext>
            </a:extLst>
          </p:cNvPr>
          <p:cNvSpPr/>
          <p:nvPr/>
        </p:nvSpPr>
        <p:spPr>
          <a:xfrm>
            <a:off x="8950345" y="1667067"/>
            <a:ext cx="387597" cy="381514"/>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Tree>
    <p:extLst>
      <p:ext uri="{BB962C8B-B14F-4D97-AF65-F5344CB8AC3E}">
        <p14:creationId xmlns:p14="http://schemas.microsoft.com/office/powerpoint/2010/main" val="1602113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HvO0iq_VRkuV3J_SkmeTU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YId5RNao2kaDX7RMx.YIV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7gplWTzmVU2P78Qqw2.SX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dmN1sLU2t06P6b5ByVdFV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gt.V3vvG90qlAfp91GgXB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FHzclY._SEyB97wXf.YbP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kzhSi7JfxEWSwA_JZx8J7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a3Wova5PnkmgLxOpYYnC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lbcr8_YWa064uA08bw630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CRwXDM8J7UyW6JkNJq4Gg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9B.z3ZXxcUW4un6qCgIf7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oBa7eDL8fEiOiAk.LVHKV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vsQKCGING0Km4pYmJgl3L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2DUXADHmEOi2.0ys0ge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mVz0kKJm.kSmBHb1hus0K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I0iIiU5oskifp8HHbVIBb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NZME9j7GZUmQmlSOvOkld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eBOEqzRH0EyzdoHG9P_i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Sw_wMpHQ.kq.gHWh7VPpQ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I6bBK_VgYEejMgQNSD2gM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DvH2XY0Ea4RK3n9zUpO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ROWR0kQ1FkabDuZwzuF_4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V7cmnwj4okyWOMM.rE2bV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Opb8805mJ0qeR8M5Gpsgj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JiB5cZcpBk6UhuO1TBHjS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vmjaN7GCe0yGQ7sWNrM3k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xDrGxLWgJkOPUPqHrI_6T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DLSPbmvV4U.z1SxKl5SM9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IzQyPWyEm4EKrmBoCj0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cuGSpS31JUm7Esy9yNj9U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AdFwqItBnk2U1r4MMVkVe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Xz10AcWZl0.qs94rTbjJw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0dbwKUH0SUqM8160X62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BAN0vwHTvUuKGqG7jB8fM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0Rgz55yUGKDjakuBiKN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3RNlPkXKd0S4XxfHjgEk6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X6gY__23p0SBo2iLDKk5c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dKkmMpb7vk6C3Jf6wcmQ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lGpHpWsA0Kjl_cm2JZWm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F8ZeW1sDEkqr35PWGYrnz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B2YNOy7PM0qMN7PWdx3xK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84RK4JvO4UiwN78NM5o6v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ed3ZPY9H1E.kzRH189wak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gC1_pYJcC0SwS70OS4tlZ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CcJON85x.k2qzVTWbxlui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QPVcc5h.uUmdeLNYzl13f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txpjKaTkqN1j2USm3lS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HPIAn94m5UOgVhbtZDtv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HA31_P1ubE2Y.0wkfS7g8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IGFvOtu7202bhlDK8sIhI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Ol3ibFR850u26n9o_pfcW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UNAdbECB30.hXxTEsYG.b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s0fpOHg.hUieBlpjj555p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OREP7fF02qhfdmBnzWi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yYXEKXnN.UuwpysJjR..d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_JIM7hqWoEao6iDsTaSAI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8kIui1ERpEmBPRS.oB9d6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4qUzMp3XwUOcVdk3VtNJq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3r4APr2ux0.5_nLryxZb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NJdEPBj4mUWF3.HEnwdf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k47LbVyZKEelQYOxGlJVc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eQ62rDudAkusF12A5Isu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EbGWUiMzFEeC1uZRUDE2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OXnpifJrj0eSvFoeKRCz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lvUfX10SQEmp8rqV50xO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jF9t7NUycUiqxwankfKf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jnrh0.ryuUWghEtgIs46g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YMuQGmxjHk.HYDzlAU5n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SUX0xLibDkeZpLdDelJO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ngMD_2rOqkSmAeCuqHZu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VWlN_S.UzkaXLaJsxJqOE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32Nw84n7x0euBOGUqIDt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6OzoU6_Uz069PEReangi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6wE0duFiQ06_goIbimMGx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JfCNydNXLkqnH76K3fvs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08fvIsQGRECmG0ALbEoMd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8er5aXRssky0lgINviVA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O3YS1OBalUe8IWv0cmlM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ZXOUvf5LuUeIO3xzB2FE3Q"/>
</p:tagLst>
</file>

<file path=ppt/theme/theme1.xml><?xml version="1.0" encoding="utf-8"?>
<a:theme xmlns:a="http://schemas.openxmlformats.org/drawingml/2006/main" name="Cover and End Slide Master">
  <a:themeElements>
    <a:clrScheme name="По избор 4">
      <a:dk1>
        <a:srgbClr val="000000"/>
      </a:dk1>
      <a:lt1>
        <a:srgbClr val="FFFFFF"/>
      </a:lt1>
      <a:dk2>
        <a:srgbClr val="44546A"/>
      </a:dk2>
      <a:lt2>
        <a:srgbClr val="E7E6E6"/>
      </a:lt2>
      <a:accent1>
        <a:srgbClr val="8AC7D3"/>
      </a:accent1>
      <a:accent2>
        <a:srgbClr val="307689"/>
      </a:accent2>
      <a:accent3>
        <a:srgbClr val="F7C76A"/>
      </a:accent3>
      <a:accent4>
        <a:srgbClr val="F47758"/>
      </a:accent4>
      <a:accent5>
        <a:srgbClr val="C1C3C4"/>
      </a:accent5>
      <a:accent6>
        <a:srgbClr val="307689"/>
      </a:accent6>
      <a:hlink>
        <a:srgbClr val="000000"/>
      </a:hlink>
      <a:folHlink>
        <a:srgbClr val="000000"/>
      </a:folHlink>
    </a:clrScheme>
    <a:fontScheme name="По избор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на Office">
  <a:themeElements>
    <a:clrScheme name="О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О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О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90</TotalTime>
  <Words>2009</Words>
  <Application>Microsoft Office PowerPoint</Application>
  <PresentationFormat>Widescreen</PresentationFormat>
  <Paragraphs>160</Paragraphs>
  <Slides>19</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9</vt:i4>
      </vt:variant>
    </vt:vector>
  </HeadingPairs>
  <TitlesOfParts>
    <vt:vector size="24" baseType="lpstr">
      <vt:lpstr>Arial</vt:lpstr>
      <vt:lpstr>Arial Narrow</vt:lpstr>
      <vt:lpstr>Calibri</vt:lpstr>
      <vt:lpstr>Times New Roman</vt:lpstr>
      <vt:lpstr>Cover and End Slide Master</vt:lpstr>
      <vt:lpstr>ОБЩЕСТВЕНИ НАГЛАСИ ЗА ВЪВЕЖДАНЕТО НА ЕВРОТО В БЪЛГАРИЯ   Резултати от национално представително проучване и проучване сред бизнеса</vt:lpstr>
      <vt:lpstr>ВИЗИТКА НА ПРОУЧВАНЕТО </vt:lpstr>
      <vt:lpstr>ХАРАКТЕРИСТИКИ НА ИЗВАДКИТЕ (%)</vt:lpstr>
      <vt:lpstr>ОСНОВНИ ИЗВОДИ</vt:lpstr>
      <vt:lpstr>PowerPoint Presentation</vt:lpstr>
      <vt:lpstr>PowerPoint Presentation</vt:lpstr>
      <vt:lpstr>PowerPoint Presentation</vt:lpstr>
      <vt:lpstr>ОСНОВНИ РЕЗУЛТАТИ</vt:lpstr>
      <vt:lpstr>ОТНОШЕНИЕ КЪМ ПРИСЪЕДИНЯВАНЕТО НА БЪЛГАРИЯ КЪМ ЕВРОЗОНАТА (%)</vt:lpstr>
      <vt:lpstr>БИЗНЕС – ОЧАКВАНИ ЕФЕКТИ ОТ ВЪВЕЖДАНЕТО НА ЕВРОТО ВЪРХУ ИКОНОМИКАТА НА БЪЛГАРИЯ И КОМПАНИЯТА  (%)</vt:lpstr>
      <vt:lpstr>ОЧАКВАНИ ПОЗИТИВНИ ЕФЕКТИ ОТ ВЪВЕЖДАНЕ НА ЕВРОТО (%)</vt:lpstr>
      <vt:lpstr>ОЧАКВАНИ НЕГАТИВНИ ЕФЕКТИ ОТ ВЪВЕЖДАНЕ НА ЕВРОТО (%)</vt:lpstr>
      <vt:lpstr>ВЪЗМОЖНОСТИ ЗА ПОДКРЕПА, АКО НЕГАТИВИТЕ БЪДАТ ОВЛАДЕНИ/ПРЕДОТВРАТЕНИ (%)</vt:lpstr>
      <vt:lpstr>ИЗПОЛЗВАНЕ НА ЕВРОТО - ПЪТУВАНИЯ В СТРАНИ ОТ ЕВРОПЕЙСКИЯ СЪЮЗ (%)</vt:lpstr>
      <vt:lpstr>ИЗПОЛЗВАНЕ НА ЕВРОТО ПРЕЗ ПОСЛЕДНАТА ГОДИНА (%)</vt:lpstr>
      <vt:lpstr>ОЧАКВАНИЯ ЗА АДАПТИРАНЕ КЪМ ИЗПОЛЗВАНЕ НА ЕВРОТО (%)</vt:lpstr>
      <vt:lpstr>НИВА НА ИНФОРМИРАНОСТ ПО ВЪПРОСИ ЗА ЕВРОТО (%)</vt:lpstr>
      <vt:lpstr>ИНФОРМАЦИОННИ ДЕФИЦИТИ ПО ВЪПРОСИ, СВЪРЗАНИ С ВЪВЕЖДАНЕТО НА ЕВРОТО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ppt.com</dc:creator>
  <cp:lastModifiedBy>Цветелина Цветанова</cp:lastModifiedBy>
  <cp:revision>650</cp:revision>
  <dcterms:created xsi:type="dcterms:W3CDTF">2019-01-14T06:35:35Z</dcterms:created>
  <dcterms:modified xsi:type="dcterms:W3CDTF">2022-12-08T08:31:17Z</dcterms:modified>
</cp:coreProperties>
</file>